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63" r:id="rId2"/>
    <p:sldId id="271" r:id="rId3"/>
    <p:sldId id="272" r:id="rId4"/>
    <p:sldId id="273" r:id="rId5"/>
    <p:sldId id="275" r:id="rId6"/>
    <p:sldId id="274" r:id="rId7"/>
    <p:sldId id="276" r:id="rId8"/>
    <p:sldId id="277" r:id="rId9"/>
    <p:sldId id="278" r:id="rId10"/>
  </p:sldIdLst>
  <p:sldSz cx="9144000" cy="5143500" type="screen16x9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777A"/>
    <a:srgbClr val="B9D177"/>
    <a:srgbClr val="AAADAF"/>
    <a:srgbClr val="8BB31D"/>
    <a:srgbClr val="005A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F851D9D-8985-41D7-9F7A-DB5DF06E4443}" v="332" dt="2024-04-12T09:26:49.4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5652" autoAdjust="0"/>
  </p:normalViewPr>
  <p:slideViewPr>
    <p:cSldViewPr snapToGrid="0">
      <p:cViewPr>
        <p:scale>
          <a:sx n="125" d="100"/>
          <a:sy n="125" d="100"/>
        </p:scale>
        <p:origin x="182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0" d="100"/>
          <a:sy n="70" d="100"/>
        </p:scale>
        <p:origin x="2514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ittner, Bodowin Silvester" userId="7336ac58-4196-4884-88d1-0dfe9a9e63cc" providerId="ADAL" clId="{D81EDA41-055E-49E2-A949-29B9F99910A1}"/>
    <pc:docChg chg="undo redo custSel addSld delSld modSld modMainMaster replTag">
      <pc:chgData name="Bittner, Bodowin Silvester" userId="7336ac58-4196-4884-88d1-0dfe9a9e63cc" providerId="ADAL" clId="{D81EDA41-055E-49E2-A949-29B9F99910A1}" dt="2024-03-17T18:09:21.520" v="1328"/>
      <pc:docMkLst>
        <pc:docMk/>
      </pc:docMkLst>
      <pc:sldChg chg="addSp delSp modSp mod">
        <pc:chgData name="Bittner, Bodowin Silvester" userId="7336ac58-4196-4884-88d1-0dfe9a9e63cc" providerId="ADAL" clId="{D81EDA41-055E-49E2-A949-29B9F99910A1}" dt="2024-03-17T18:09:21.520" v="1328"/>
        <pc:sldMkLst>
          <pc:docMk/>
          <pc:sldMk cId="2734687798" sldId="263"/>
        </pc:sldMkLst>
        <pc:spChg chg="add del mod modVis">
          <ac:chgData name="Bittner, Bodowin Silvester" userId="7336ac58-4196-4884-88d1-0dfe9a9e63cc" providerId="ADAL" clId="{D81EDA41-055E-49E2-A949-29B9F99910A1}" dt="2024-03-17T18:09:21.494" v="1313"/>
          <ac:spMkLst>
            <pc:docMk/>
            <pc:sldMk cId="2734687798" sldId="263"/>
            <ac:spMk id="2" creationId="{19A6182B-C3CA-2756-2C90-0C377E453734}"/>
          </ac:spMkLst>
        </pc:spChg>
        <pc:spChg chg="mod">
          <ac:chgData name="Bittner, Bodowin Silvester" userId="7336ac58-4196-4884-88d1-0dfe9a9e63cc" providerId="ADAL" clId="{D81EDA41-055E-49E2-A949-29B9F99910A1}" dt="2024-03-17T18:09:21.470" v="1289" actId="948"/>
          <ac:spMkLst>
            <pc:docMk/>
            <pc:sldMk cId="2734687798" sldId="263"/>
            <ac:spMk id="6" creationId="{B1EE7A55-1D41-490E-91EF-6B1065D289E5}"/>
          </ac:spMkLst>
        </pc:spChg>
        <pc:graphicFrameChg chg="add mod ord modVis replST">
          <ac:chgData name="Bittner, Bodowin Silvester" userId="7336ac58-4196-4884-88d1-0dfe9a9e63cc" providerId="ADAL" clId="{D81EDA41-055E-49E2-A949-29B9F99910A1}" dt="2024-03-17T18:09:21.520" v="1328"/>
          <ac:graphicFrameMkLst>
            <pc:docMk/>
            <pc:sldMk cId="2734687798" sldId="263"/>
            <ac:graphicFrameMk id="3" creationId="{8CEB022A-99E4-E511-B8AA-0E9FD5A54555}"/>
          </ac:graphicFrameMkLst>
        </pc:graphicFrameChg>
      </pc:sldChg>
      <pc:sldChg chg="modSp del mod">
        <pc:chgData name="Bittner, Bodowin Silvester" userId="7336ac58-4196-4884-88d1-0dfe9a9e63cc" providerId="ADAL" clId="{D81EDA41-055E-49E2-A949-29B9F99910A1}" dt="2024-03-17T18:07:10.559" v="1276" actId="47"/>
        <pc:sldMkLst>
          <pc:docMk/>
          <pc:sldMk cId="763774435" sldId="264"/>
        </pc:sldMkLst>
        <pc:spChg chg="mod">
          <ac:chgData name="Bittner, Bodowin Silvester" userId="7336ac58-4196-4884-88d1-0dfe9a9e63cc" providerId="ADAL" clId="{D81EDA41-055E-49E2-A949-29B9F99910A1}" dt="2024-03-17T17:56:29.395" v="912"/>
          <ac:spMkLst>
            <pc:docMk/>
            <pc:sldMk cId="763774435" sldId="264"/>
            <ac:spMk id="4" creationId="{4FD62C21-1674-431C-9889-D591E8EF7681}"/>
          </ac:spMkLst>
        </pc:spChg>
        <pc:spChg chg="mod">
          <ac:chgData name="Bittner, Bodowin Silvester" userId="7336ac58-4196-4884-88d1-0dfe9a9e63cc" providerId="ADAL" clId="{D81EDA41-055E-49E2-A949-29B9F99910A1}" dt="2024-03-17T18:05:10.364" v="1201" actId="313"/>
          <ac:spMkLst>
            <pc:docMk/>
            <pc:sldMk cId="763774435" sldId="264"/>
            <ac:spMk id="7" creationId="{82ADF10E-43B0-4A66-975F-E9169C64D98E}"/>
          </ac:spMkLst>
        </pc:spChg>
      </pc:sldChg>
      <pc:sldChg chg="addSp delSp modSp mod">
        <pc:chgData name="Bittner, Bodowin Silvester" userId="7336ac58-4196-4884-88d1-0dfe9a9e63cc" providerId="ADAL" clId="{D81EDA41-055E-49E2-A949-29B9F99910A1}" dt="2024-03-17T18:00:11.007" v="1010" actId="554"/>
        <pc:sldMkLst>
          <pc:docMk/>
          <pc:sldMk cId="1637290473" sldId="265"/>
        </pc:sldMkLst>
        <pc:spChg chg="add del mod">
          <ac:chgData name="Bittner, Bodowin Silvester" userId="7336ac58-4196-4884-88d1-0dfe9a9e63cc" providerId="ADAL" clId="{D81EDA41-055E-49E2-A949-29B9F99910A1}" dt="2024-03-17T14:07:52.752" v="361" actId="478"/>
          <ac:spMkLst>
            <pc:docMk/>
            <pc:sldMk cId="1637290473" sldId="265"/>
            <ac:spMk id="3" creationId="{45031404-1ED8-FA08-F850-FA08A18B399D}"/>
          </ac:spMkLst>
        </pc:spChg>
        <pc:spChg chg="mod ord">
          <ac:chgData name="Bittner, Bodowin Silvester" userId="7336ac58-4196-4884-88d1-0dfe9a9e63cc" providerId="ADAL" clId="{D81EDA41-055E-49E2-A949-29B9F99910A1}" dt="2024-03-17T17:58:01.870" v="930"/>
          <ac:spMkLst>
            <pc:docMk/>
            <pc:sldMk cId="1637290473" sldId="265"/>
            <ac:spMk id="4" creationId="{4FD62C21-1674-431C-9889-D591E8EF7681}"/>
          </ac:spMkLst>
        </pc:spChg>
        <pc:spChg chg="mod ord">
          <ac:chgData name="Bittner, Bodowin Silvester" userId="7336ac58-4196-4884-88d1-0dfe9a9e63cc" providerId="ADAL" clId="{D81EDA41-055E-49E2-A949-29B9F99910A1}" dt="2024-03-17T17:58:01.871" v="932"/>
          <ac:spMkLst>
            <pc:docMk/>
            <pc:sldMk cId="1637290473" sldId="265"/>
            <ac:spMk id="5" creationId="{76F73CB9-9AFC-44F1-9B35-8462F4B4D134}"/>
          </ac:spMkLst>
        </pc:spChg>
        <pc:spChg chg="mod ord">
          <ac:chgData name="Bittner, Bodowin Silvester" userId="7336ac58-4196-4884-88d1-0dfe9a9e63cc" providerId="ADAL" clId="{D81EDA41-055E-49E2-A949-29B9F99910A1}" dt="2024-03-17T17:58:01.869" v="928"/>
          <ac:spMkLst>
            <pc:docMk/>
            <pc:sldMk cId="1637290473" sldId="265"/>
            <ac:spMk id="6" creationId="{6A4FD04E-F4E5-4C20-8824-ED6C28B10A98}"/>
          </ac:spMkLst>
        </pc:spChg>
        <pc:spChg chg="del">
          <ac:chgData name="Bittner, Bodowin Silvester" userId="7336ac58-4196-4884-88d1-0dfe9a9e63cc" providerId="ADAL" clId="{D81EDA41-055E-49E2-A949-29B9F99910A1}" dt="2024-03-17T14:07:28.501" v="1" actId="478"/>
          <ac:spMkLst>
            <pc:docMk/>
            <pc:sldMk cId="1637290473" sldId="265"/>
            <ac:spMk id="7" creationId="{82ADF10E-43B0-4A66-975F-E9169C64D98E}"/>
          </ac:spMkLst>
        </pc:spChg>
        <pc:spChg chg="add del mod modVis">
          <ac:chgData name="Bittner, Bodowin Silvester" userId="7336ac58-4196-4884-88d1-0dfe9a9e63cc" providerId="ADAL" clId="{D81EDA41-055E-49E2-A949-29B9F99910A1}" dt="2024-03-17T14:07:33.363" v="54"/>
          <ac:spMkLst>
            <pc:docMk/>
            <pc:sldMk cId="1637290473" sldId="265"/>
            <ac:spMk id="8" creationId="{82B7649B-0B7E-FB2F-50FC-5C59F06AE7D9}"/>
          </ac:spMkLst>
        </pc:spChg>
        <pc:spChg chg="add del mod modVis">
          <ac:chgData name="Bittner, Bodowin Silvester" userId="7336ac58-4196-4884-88d1-0dfe9a9e63cc" providerId="ADAL" clId="{D81EDA41-055E-49E2-A949-29B9F99910A1}" dt="2024-03-17T14:07:35.388" v="119"/>
          <ac:spMkLst>
            <pc:docMk/>
            <pc:sldMk cId="1637290473" sldId="265"/>
            <ac:spMk id="10" creationId="{24700E8F-3B4A-ED3C-B9A1-ACA6ECBEF4A3}"/>
          </ac:spMkLst>
        </pc:spChg>
        <pc:spChg chg="add del mod modVis">
          <ac:chgData name="Bittner, Bodowin Silvester" userId="7336ac58-4196-4884-88d1-0dfe9a9e63cc" providerId="ADAL" clId="{D81EDA41-055E-49E2-A949-29B9F99910A1}" dt="2024-03-17T14:07:36.568" v="147"/>
          <ac:spMkLst>
            <pc:docMk/>
            <pc:sldMk cId="1637290473" sldId="265"/>
            <ac:spMk id="11" creationId="{F060C147-31CC-EE71-2E46-CA487C08A653}"/>
          </ac:spMkLst>
        </pc:spChg>
        <pc:spChg chg="add del mod modVis">
          <ac:chgData name="Bittner, Bodowin Silvester" userId="7336ac58-4196-4884-88d1-0dfe9a9e63cc" providerId="ADAL" clId="{D81EDA41-055E-49E2-A949-29B9F99910A1}" dt="2024-03-17T14:07:38.789" v="176"/>
          <ac:spMkLst>
            <pc:docMk/>
            <pc:sldMk cId="1637290473" sldId="265"/>
            <ac:spMk id="12" creationId="{B1BDE652-FCC2-8F56-B03B-B5C1BD797FB9}"/>
          </ac:spMkLst>
        </pc:spChg>
        <pc:spChg chg="add del mod modVis">
          <ac:chgData name="Bittner, Bodowin Silvester" userId="7336ac58-4196-4884-88d1-0dfe9a9e63cc" providerId="ADAL" clId="{D81EDA41-055E-49E2-A949-29B9F99910A1}" dt="2024-03-17T14:07:39.704" v="208"/>
          <ac:spMkLst>
            <pc:docMk/>
            <pc:sldMk cId="1637290473" sldId="265"/>
            <ac:spMk id="13" creationId="{5986701B-B48B-53F3-1A5C-FBA0C234F089}"/>
          </ac:spMkLst>
        </pc:spChg>
        <pc:spChg chg="add del mod modVis">
          <ac:chgData name="Bittner, Bodowin Silvester" userId="7336ac58-4196-4884-88d1-0dfe9a9e63cc" providerId="ADAL" clId="{D81EDA41-055E-49E2-A949-29B9F99910A1}" dt="2024-03-17T14:07:42.346" v="248"/>
          <ac:spMkLst>
            <pc:docMk/>
            <pc:sldMk cId="1637290473" sldId="265"/>
            <ac:spMk id="14" creationId="{5617A71E-8511-9408-353F-B375BAB20E61}"/>
          </ac:spMkLst>
        </pc:spChg>
        <pc:spChg chg="add del mod modVis">
          <ac:chgData name="Bittner, Bodowin Silvester" userId="7336ac58-4196-4884-88d1-0dfe9a9e63cc" providerId="ADAL" clId="{D81EDA41-055E-49E2-A949-29B9F99910A1}" dt="2024-03-17T14:07:44.142" v="276"/>
          <ac:spMkLst>
            <pc:docMk/>
            <pc:sldMk cId="1637290473" sldId="265"/>
            <ac:spMk id="15" creationId="{1236C17A-7096-CC90-3BBC-EF9DDDE5B7BF}"/>
          </ac:spMkLst>
        </pc:spChg>
        <pc:spChg chg="add del mod modVis">
          <ac:chgData name="Bittner, Bodowin Silvester" userId="7336ac58-4196-4884-88d1-0dfe9a9e63cc" providerId="ADAL" clId="{D81EDA41-055E-49E2-A949-29B9F99910A1}" dt="2024-03-17T14:07:47.942" v="320"/>
          <ac:spMkLst>
            <pc:docMk/>
            <pc:sldMk cId="1637290473" sldId="265"/>
            <ac:spMk id="16" creationId="{5D7DF60E-E6B3-3679-3411-55E2AB915477}"/>
          </ac:spMkLst>
        </pc:spChg>
        <pc:spChg chg="add del mod modVis">
          <ac:chgData name="Bittner, Bodowin Silvester" userId="7336ac58-4196-4884-88d1-0dfe9a9e63cc" providerId="ADAL" clId="{D81EDA41-055E-49E2-A949-29B9F99910A1}" dt="2024-03-17T14:07:50.272" v="358"/>
          <ac:spMkLst>
            <pc:docMk/>
            <pc:sldMk cId="1637290473" sldId="265"/>
            <ac:spMk id="17" creationId="{A2E67638-2609-5997-6CAA-E032E7C86691}"/>
          </ac:spMkLst>
        </pc:spChg>
        <pc:spChg chg="add del mod">
          <ac:chgData name="Bittner, Bodowin Silvester" userId="7336ac58-4196-4884-88d1-0dfe9a9e63cc" providerId="ADAL" clId="{D81EDA41-055E-49E2-A949-29B9F99910A1}" dt="2024-03-17T14:08:20.081" v="363"/>
          <ac:spMkLst>
            <pc:docMk/>
            <pc:sldMk cId="1637290473" sldId="265"/>
            <ac:spMk id="18" creationId="{CD012E1E-F542-26AF-19BF-2425811D870E}"/>
          </ac:spMkLst>
        </pc:spChg>
        <pc:spChg chg="add del mod">
          <ac:chgData name="Bittner, Bodowin Silvester" userId="7336ac58-4196-4884-88d1-0dfe9a9e63cc" providerId="ADAL" clId="{D81EDA41-055E-49E2-A949-29B9F99910A1}" dt="2024-03-17T14:08:20.081" v="363"/>
          <ac:spMkLst>
            <pc:docMk/>
            <pc:sldMk cId="1637290473" sldId="265"/>
            <ac:spMk id="19" creationId="{6C5F489D-6995-DAFE-8734-0AC05DD367AD}"/>
          </ac:spMkLst>
        </pc:spChg>
        <pc:spChg chg="add mod ord">
          <ac:chgData name="Bittner, Bodowin Silvester" userId="7336ac58-4196-4884-88d1-0dfe9a9e63cc" providerId="ADAL" clId="{D81EDA41-055E-49E2-A949-29B9F99910A1}" dt="2024-03-17T17:59:45.454" v="1004" actId="14100"/>
          <ac:spMkLst>
            <pc:docMk/>
            <pc:sldMk cId="1637290473" sldId="265"/>
            <ac:spMk id="20" creationId="{F82EF4AB-8FB4-8E70-290E-3283A7865CFD}"/>
          </ac:spMkLst>
        </pc:spChg>
        <pc:spChg chg="add mod ord">
          <ac:chgData name="Bittner, Bodowin Silvester" userId="7336ac58-4196-4884-88d1-0dfe9a9e63cc" providerId="ADAL" clId="{D81EDA41-055E-49E2-A949-29B9F99910A1}" dt="2024-03-17T17:59:56.744" v="1006" actId="164"/>
          <ac:spMkLst>
            <pc:docMk/>
            <pc:sldMk cId="1637290473" sldId="265"/>
            <ac:spMk id="21" creationId="{0BA58F5B-5218-CBC6-40B8-37A6CE4B584E}"/>
          </ac:spMkLst>
        </pc:spChg>
        <pc:spChg chg="add mod ord">
          <ac:chgData name="Bittner, Bodowin Silvester" userId="7336ac58-4196-4884-88d1-0dfe9a9e63cc" providerId="ADAL" clId="{D81EDA41-055E-49E2-A949-29B9F99910A1}" dt="2024-03-17T17:59:45.454" v="1004" actId="14100"/>
          <ac:spMkLst>
            <pc:docMk/>
            <pc:sldMk cId="1637290473" sldId="265"/>
            <ac:spMk id="22" creationId="{A4E9FEAE-FF8C-3EAC-45CB-FF00654F3F77}"/>
          </ac:spMkLst>
        </pc:spChg>
        <pc:spChg chg="add mod ord">
          <ac:chgData name="Bittner, Bodowin Silvester" userId="7336ac58-4196-4884-88d1-0dfe9a9e63cc" providerId="ADAL" clId="{D81EDA41-055E-49E2-A949-29B9F99910A1}" dt="2024-03-17T18:00:02.149" v="1008" actId="164"/>
          <ac:spMkLst>
            <pc:docMk/>
            <pc:sldMk cId="1637290473" sldId="265"/>
            <ac:spMk id="23" creationId="{012D3D00-CE3E-D707-EF42-F2031BB58905}"/>
          </ac:spMkLst>
        </pc:spChg>
        <pc:spChg chg="add mod ord">
          <ac:chgData name="Bittner, Bodowin Silvester" userId="7336ac58-4196-4884-88d1-0dfe9a9e63cc" providerId="ADAL" clId="{D81EDA41-055E-49E2-A949-29B9F99910A1}" dt="2024-03-17T17:58:01.874" v="942"/>
          <ac:spMkLst>
            <pc:docMk/>
            <pc:sldMk cId="1637290473" sldId="265"/>
            <ac:spMk id="24" creationId="{8D36B14C-4D5A-B142-E282-98CAD7D889AC}"/>
          </ac:spMkLst>
        </pc:spChg>
        <pc:spChg chg="add mod ord">
          <ac:chgData name="Bittner, Bodowin Silvester" userId="7336ac58-4196-4884-88d1-0dfe9a9e63cc" providerId="ADAL" clId="{D81EDA41-055E-49E2-A949-29B9F99910A1}" dt="2024-03-17T17:58:01.874" v="944"/>
          <ac:spMkLst>
            <pc:docMk/>
            <pc:sldMk cId="1637290473" sldId="265"/>
            <ac:spMk id="25" creationId="{70BD94FE-CA09-0057-6ED0-031757AF73AA}"/>
          </ac:spMkLst>
        </pc:spChg>
        <pc:spChg chg="add del">
          <ac:chgData name="Bittner, Bodowin Silvester" userId="7336ac58-4196-4884-88d1-0dfe9a9e63cc" providerId="ADAL" clId="{D81EDA41-055E-49E2-A949-29B9F99910A1}" dt="2024-03-17T14:10:43.471" v="465" actId="22"/>
          <ac:spMkLst>
            <pc:docMk/>
            <pc:sldMk cId="1637290473" sldId="265"/>
            <ac:spMk id="27" creationId="{729F5F93-F1BD-4972-82E4-C7696127360C}"/>
          </ac:spMkLst>
        </pc:spChg>
        <pc:spChg chg="add del mod">
          <ac:chgData name="Bittner, Bodowin Silvester" userId="7336ac58-4196-4884-88d1-0dfe9a9e63cc" providerId="ADAL" clId="{D81EDA41-055E-49E2-A949-29B9F99910A1}" dt="2024-03-17T14:11:09.719" v="474" actId="478"/>
          <ac:spMkLst>
            <pc:docMk/>
            <pc:sldMk cId="1637290473" sldId="265"/>
            <ac:spMk id="29" creationId="{9CA609A8-287F-EB56-E53D-DD9915C8E353}"/>
          </ac:spMkLst>
        </pc:spChg>
        <pc:spChg chg="add del mod">
          <ac:chgData name="Bittner, Bodowin Silvester" userId="7336ac58-4196-4884-88d1-0dfe9a9e63cc" providerId="ADAL" clId="{D81EDA41-055E-49E2-A949-29B9F99910A1}" dt="2024-03-17T14:19:45.132" v="582" actId="478"/>
          <ac:spMkLst>
            <pc:docMk/>
            <pc:sldMk cId="1637290473" sldId="265"/>
            <ac:spMk id="35" creationId="{75A61CE1-1CFF-4E33-7F42-61B2483BA351}"/>
          </ac:spMkLst>
        </pc:spChg>
        <pc:spChg chg="add del mod">
          <ac:chgData name="Bittner, Bodowin Silvester" userId="7336ac58-4196-4884-88d1-0dfe9a9e63cc" providerId="ADAL" clId="{D81EDA41-055E-49E2-A949-29B9F99910A1}" dt="2024-03-17T17:55:52.152" v="911" actId="478"/>
          <ac:spMkLst>
            <pc:docMk/>
            <pc:sldMk cId="1637290473" sldId="265"/>
            <ac:spMk id="37" creationId="{6DA7AFB5-9925-437D-FF90-0F4E371CEDA8}"/>
          </ac:spMkLst>
        </pc:spChg>
        <pc:spChg chg="add del mod modVis">
          <ac:chgData name="Bittner, Bodowin Silvester" userId="7336ac58-4196-4884-88d1-0dfe9a9e63cc" providerId="ADAL" clId="{D81EDA41-055E-49E2-A949-29B9F99910A1}" dt="2024-03-17T17:55:13.467" v="897"/>
          <ac:spMkLst>
            <pc:docMk/>
            <pc:sldMk cId="1637290473" sldId="265"/>
            <ac:spMk id="38" creationId="{6DDBEE2F-BF87-2A30-D339-E0302422FA93}"/>
          </ac:spMkLst>
        </pc:spChg>
        <pc:grpChg chg="add mod">
          <ac:chgData name="Bittner, Bodowin Silvester" userId="7336ac58-4196-4884-88d1-0dfe9a9e63cc" providerId="ADAL" clId="{D81EDA41-055E-49E2-A949-29B9F99910A1}" dt="2024-03-17T17:59:56.744" v="1006" actId="164"/>
          <ac:grpSpMkLst>
            <pc:docMk/>
            <pc:sldMk cId="1637290473" sldId="265"/>
            <ac:grpSpMk id="46" creationId="{161E2D67-3E8A-200B-E5E8-A3CB4663DE40}"/>
          </ac:grpSpMkLst>
        </pc:grpChg>
        <pc:grpChg chg="add mod">
          <ac:chgData name="Bittner, Bodowin Silvester" userId="7336ac58-4196-4884-88d1-0dfe9a9e63cc" providerId="ADAL" clId="{D81EDA41-055E-49E2-A949-29B9F99910A1}" dt="2024-03-17T18:00:11.007" v="1010" actId="554"/>
          <ac:grpSpMkLst>
            <pc:docMk/>
            <pc:sldMk cId="1637290473" sldId="265"/>
            <ac:grpSpMk id="47" creationId="{E79432D2-721D-4C6C-E149-25BC550244D9}"/>
          </ac:grpSpMkLst>
        </pc:grpChg>
        <pc:grpChg chg="add mod">
          <ac:chgData name="Bittner, Bodowin Silvester" userId="7336ac58-4196-4884-88d1-0dfe9a9e63cc" providerId="ADAL" clId="{D81EDA41-055E-49E2-A949-29B9F99910A1}" dt="2024-03-17T18:00:11.007" v="1010" actId="554"/>
          <ac:grpSpMkLst>
            <pc:docMk/>
            <pc:sldMk cId="1637290473" sldId="265"/>
            <ac:grpSpMk id="48" creationId="{744A9881-43FF-C8E5-A760-68EA5DDBB8E4}"/>
          </ac:grpSpMkLst>
        </pc:grpChg>
        <pc:graphicFrameChg chg="add mod ord modVis replST">
          <ac:chgData name="Bittner, Bodowin Silvester" userId="7336ac58-4196-4884-88d1-0dfe9a9e63cc" providerId="ADAL" clId="{D81EDA41-055E-49E2-A949-29B9F99910A1}" dt="2024-03-17T17:58:01.902" v="960"/>
          <ac:graphicFrameMkLst>
            <pc:docMk/>
            <pc:sldMk cId="1637290473" sldId="265"/>
            <ac:graphicFrameMk id="9" creationId="{6375FDD1-6CE5-A5B4-F123-A42DF0FDDA40}"/>
          </ac:graphicFrameMkLst>
        </pc:graphicFrameChg>
        <pc:picChg chg="add mod ord">
          <ac:chgData name="Bittner, Bodowin Silvester" userId="7336ac58-4196-4884-88d1-0dfe9a9e63cc" providerId="ADAL" clId="{D81EDA41-055E-49E2-A949-29B9F99910A1}" dt="2024-03-17T17:59:55.203" v="1005" actId="164"/>
          <ac:picMkLst>
            <pc:docMk/>
            <pc:sldMk cId="1637290473" sldId="265"/>
            <ac:picMk id="40" creationId="{770FFA21-4C39-DADB-26BF-737F438E72A9}"/>
          </ac:picMkLst>
        </pc:picChg>
        <pc:picChg chg="add mod ord">
          <ac:chgData name="Bittner, Bodowin Silvester" userId="7336ac58-4196-4884-88d1-0dfe9a9e63cc" providerId="ADAL" clId="{D81EDA41-055E-49E2-A949-29B9F99910A1}" dt="2024-03-17T18:00:02.149" v="1008" actId="164"/>
          <ac:picMkLst>
            <pc:docMk/>
            <pc:sldMk cId="1637290473" sldId="265"/>
            <ac:picMk id="42" creationId="{9FC73839-6183-4419-3405-1E002DCAEEBF}"/>
          </ac:picMkLst>
        </pc:picChg>
        <pc:picChg chg="add mod ord">
          <ac:chgData name="Bittner, Bodowin Silvester" userId="7336ac58-4196-4884-88d1-0dfe9a9e63cc" providerId="ADAL" clId="{D81EDA41-055E-49E2-A949-29B9F99910A1}" dt="2024-03-17T17:59:55.203" v="1005" actId="164"/>
          <ac:picMkLst>
            <pc:docMk/>
            <pc:sldMk cId="1637290473" sldId="265"/>
            <ac:picMk id="44" creationId="{1F2BD329-CDD9-A3F8-3E78-C01E6A4FB4A8}"/>
          </ac:picMkLst>
        </pc:picChg>
        <pc:picChg chg="add mod ord">
          <ac:chgData name="Bittner, Bodowin Silvester" userId="7336ac58-4196-4884-88d1-0dfe9a9e63cc" providerId="ADAL" clId="{D81EDA41-055E-49E2-A949-29B9F99910A1}" dt="2024-03-17T18:00:02.149" v="1008" actId="164"/>
          <ac:picMkLst>
            <pc:docMk/>
            <pc:sldMk cId="1637290473" sldId="265"/>
            <ac:picMk id="45" creationId="{23C50785-D704-214F-7C1C-137452CF94F7}"/>
          </ac:picMkLst>
        </pc:picChg>
        <pc:cxnChg chg="add mod ord">
          <ac:chgData name="Bittner, Bodowin Silvester" userId="7336ac58-4196-4884-88d1-0dfe9a9e63cc" providerId="ADAL" clId="{D81EDA41-055E-49E2-A949-29B9F99910A1}" dt="2024-03-17T17:58:01.875" v="946"/>
          <ac:cxnSpMkLst>
            <pc:docMk/>
            <pc:sldMk cId="1637290473" sldId="265"/>
            <ac:cxnSpMk id="31" creationId="{978D33EB-8F0F-9A3B-FDE6-890A6C4E8AA6}"/>
          </ac:cxnSpMkLst>
        </pc:cxnChg>
        <pc:cxnChg chg="add mod ord">
          <ac:chgData name="Bittner, Bodowin Silvester" userId="7336ac58-4196-4884-88d1-0dfe9a9e63cc" providerId="ADAL" clId="{D81EDA41-055E-49E2-A949-29B9F99910A1}" dt="2024-03-17T17:58:01.875" v="948"/>
          <ac:cxnSpMkLst>
            <pc:docMk/>
            <pc:sldMk cId="1637290473" sldId="265"/>
            <ac:cxnSpMk id="33" creationId="{15569C7A-9B69-9121-5D27-73D36537F177}"/>
          </ac:cxnSpMkLst>
        </pc:cxnChg>
      </pc:sldChg>
      <pc:sldChg chg="modSp del">
        <pc:chgData name="Bittner, Bodowin Silvester" userId="7336ac58-4196-4884-88d1-0dfe9a9e63cc" providerId="ADAL" clId="{D81EDA41-055E-49E2-A949-29B9F99910A1}" dt="2024-03-17T17:56:39.209" v="913" actId="47"/>
        <pc:sldMkLst>
          <pc:docMk/>
          <pc:sldMk cId="114789731" sldId="267"/>
        </pc:sldMkLst>
        <pc:spChg chg="mod">
          <ac:chgData name="Bittner, Bodowin Silvester" userId="7336ac58-4196-4884-88d1-0dfe9a9e63cc" providerId="ADAL" clId="{D81EDA41-055E-49E2-A949-29B9F99910A1}" dt="2024-03-17T17:56:29.395" v="912"/>
          <ac:spMkLst>
            <pc:docMk/>
            <pc:sldMk cId="114789731" sldId="267"/>
            <ac:spMk id="4" creationId="{4FD62C21-1674-431C-9889-D591E8EF7681}"/>
          </ac:spMkLst>
        </pc:spChg>
      </pc:sldChg>
      <pc:sldChg chg="modSp del">
        <pc:chgData name="Bittner, Bodowin Silvester" userId="7336ac58-4196-4884-88d1-0dfe9a9e63cc" providerId="ADAL" clId="{D81EDA41-055E-49E2-A949-29B9F99910A1}" dt="2024-03-17T18:04:59.843" v="1196" actId="47"/>
        <pc:sldMkLst>
          <pc:docMk/>
          <pc:sldMk cId="2736502288" sldId="268"/>
        </pc:sldMkLst>
        <pc:spChg chg="mod">
          <ac:chgData name="Bittner, Bodowin Silvester" userId="7336ac58-4196-4884-88d1-0dfe9a9e63cc" providerId="ADAL" clId="{D81EDA41-055E-49E2-A949-29B9F99910A1}" dt="2024-03-17T17:56:29.395" v="912"/>
          <ac:spMkLst>
            <pc:docMk/>
            <pc:sldMk cId="2736502288" sldId="268"/>
            <ac:spMk id="4" creationId="{4FD62C21-1674-431C-9889-D591E8EF7681}"/>
          </ac:spMkLst>
        </pc:spChg>
      </pc:sldChg>
      <pc:sldChg chg="modSp add del">
        <pc:chgData name="Bittner, Bodowin Silvester" userId="7336ac58-4196-4884-88d1-0dfe9a9e63cc" providerId="ADAL" clId="{D81EDA41-055E-49E2-A949-29B9F99910A1}" dt="2024-03-17T17:56:39.209" v="913" actId="47"/>
        <pc:sldMkLst>
          <pc:docMk/>
          <pc:sldMk cId="1647540411" sldId="269"/>
        </pc:sldMkLst>
        <pc:spChg chg="mod">
          <ac:chgData name="Bittner, Bodowin Silvester" userId="7336ac58-4196-4884-88d1-0dfe9a9e63cc" providerId="ADAL" clId="{D81EDA41-055E-49E2-A949-29B9F99910A1}" dt="2024-03-17T17:56:29.395" v="912"/>
          <ac:spMkLst>
            <pc:docMk/>
            <pc:sldMk cId="1647540411" sldId="269"/>
            <ac:spMk id="4" creationId="{4FD62C21-1674-431C-9889-D591E8EF7681}"/>
          </ac:spMkLst>
        </pc:spChg>
      </pc:sldChg>
      <pc:sldChg chg="addSp delSp modSp add mod">
        <pc:chgData name="Bittner, Bodowin Silvester" userId="7336ac58-4196-4884-88d1-0dfe9a9e63cc" providerId="ADAL" clId="{D81EDA41-055E-49E2-A949-29B9F99910A1}" dt="2024-03-17T18:08:22.096" v="1286" actId="207"/>
        <pc:sldMkLst>
          <pc:docMk/>
          <pc:sldMk cId="3527990950" sldId="269"/>
        </pc:sldMkLst>
        <pc:spChg chg="add del mod modVis">
          <ac:chgData name="Bittner, Bodowin Silvester" userId="7336ac58-4196-4884-88d1-0dfe9a9e63cc" providerId="ADAL" clId="{D81EDA41-055E-49E2-A949-29B9F99910A1}" dt="2024-03-17T18:01:22.455" v="1055"/>
          <ac:spMkLst>
            <pc:docMk/>
            <pc:sldMk cId="3527990950" sldId="269"/>
            <ac:spMk id="2" creationId="{5E481F5D-9A83-E9B2-160A-5ED5535BF521}"/>
          </ac:spMkLst>
        </pc:spChg>
        <pc:spChg chg="mod">
          <ac:chgData name="Bittner, Bodowin Silvester" userId="7336ac58-4196-4884-88d1-0dfe9a9e63cc" providerId="ADAL" clId="{D81EDA41-055E-49E2-A949-29B9F99910A1}" dt="2024-03-17T18:01:22.408" v="1031" actId="948"/>
          <ac:spMkLst>
            <pc:docMk/>
            <pc:sldMk cId="3527990950" sldId="269"/>
            <ac:spMk id="6" creationId="{6A4FD04E-F4E5-4C20-8824-ED6C28B10A98}"/>
          </ac:spMkLst>
        </pc:spChg>
        <pc:spChg chg="del">
          <ac:chgData name="Bittner, Bodowin Silvester" userId="7336ac58-4196-4884-88d1-0dfe9a9e63cc" providerId="ADAL" clId="{D81EDA41-055E-49E2-A949-29B9F99910A1}" dt="2024-03-17T18:01:24.460" v="1071" actId="478"/>
          <ac:spMkLst>
            <pc:docMk/>
            <pc:sldMk cId="3527990950" sldId="269"/>
            <ac:spMk id="7" creationId="{82ADF10E-43B0-4A66-975F-E9169C64D98E}"/>
          </ac:spMkLst>
        </pc:spChg>
        <pc:spChg chg="add del mod">
          <ac:chgData name="Bittner, Bodowin Silvester" userId="7336ac58-4196-4884-88d1-0dfe9a9e63cc" providerId="ADAL" clId="{D81EDA41-055E-49E2-A949-29B9F99910A1}" dt="2024-03-17T18:01:27.855" v="1072" actId="478"/>
          <ac:spMkLst>
            <pc:docMk/>
            <pc:sldMk cId="3527990950" sldId="269"/>
            <ac:spMk id="9" creationId="{D60ED3F7-ECA9-5AFC-6D31-B258BA4C3FC9}"/>
          </ac:spMkLst>
        </pc:spChg>
        <pc:spChg chg="add del mod">
          <ac:chgData name="Bittner, Bodowin Silvester" userId="7336ac58-4196-4884-88d1-0dfe9a9e63cc" providerId="ADAL" clId="{D81EDA41-055E-49E2-A949-29B9F99910A1}" dt="2024-03-17T18:01:30.610" v="1076"/>
          <ac:spMkLst>
            <pc:docMk/>
            <pc:sldMk cId="3527990950" sldId="269"/>
            <ac:spMk id="10" creationId="{EE6C52BF-7FA1-1BD8-2EEC-FDB68924B237}"/>
          </ac:spMkLst>
        </pc:spChg>
        <pc:spChg chg="add del mod">
          <ac:chgData name="Bittner, Bodowin Silvester" userId="7336ac58-4196-4884-88d1-0dfe9a9e63cc" providerId="ADAL" clId="{D81EDA41-055E-49E2-A949-29B9F99910A1}" dt="2024-03-17T18:01:30.610" v="1076"/>
          <ac:spMkLst>
            <pc:docMk/>
            <pc:sldMk cId="3527990950" sldId="269"/>
            <ac:spMk id="11" creationId="{5FF91EBB-1706-C548-0ED6-A1920594C873}"/>
          </ac:spMkLst>
        </pc:spChg>
        <pc:spChg chg="add del mod">
          <ac:chgData name="Bittner, Bodowin Silvester" userId="7336ac58-4196-4884-88d1-0dfe9a9e63cc" providerId="ADAL" clId="{D81EDA41-055E-49E2-A949-29B9F99910A1}" dt="2024-03-17T18:01:30.610" v="1076"/>
          <ac:spMkLst>
            <pc:docMk/>
            <pc:sldMk cId="3527990950" sldId="269"/>
            <ac:spMk id="12" creationId="{53206ABF-86CB-4953-E114-A78D2E907E6A}"/>
          </ac:spMkLst>
        </pc:spChg>
        <pc:spChg chg="add del mod">
          <ac:chgData name="Bittner, Bodowin Silvester" userId="7336ac58-4196-4884-88d1-0dfe9a9e63cc" providerId="ADAL" clId="{D81EDA41-055E-49E2-A949-29B9F99910A1}" dt="2024-03-17T18:01:30.610" v="1076"/>
          <ac:spMkLst>
            <pc:docMk/>
            <pc:sldMk cId="3527990950" sldId="269"/>
            <ac:spMk id="13" creationId="{4025406D-95F1-DCF7-20B6-7E33AA9D8C33}"/>
          </ac:spMkLst>
        </pc:spChg>
        <pc:spChg chg="add del mod">
          <ac:chgData name="Bittner, Bodowin Silvester" userId="7336ac58-4196-4884-88d1-0dfe9a9e63cc" providerId="ADAL" clId="{D81EDA41-055E-49E2-A949-29B9F99910A1}" dt="2024-03-17T18:01:30.610" v="1076"/>
          <ac:spMkLst>
            <pc:docMk/>
            <pc:sldMk cId="3527990950" sldId="269"/>
            <ac:spMk id="14" creationId="{DF86D39F-7C25-B433-78F1-A0B775E92041}"/>
          </ac:spMkLst>
        </pc:spChg>
        <pc:spChg chg="add del mod">
          <ac:chgData name="Bittner, Bodowin Silvester" userId="7336ac58-4196-4884-88d1-0dfe9a9e63cc" providerId="ADAL" clId="{D81EDA41-055E-49E2-A949-29B9F99910A1}" dt="2024-03-17T18:01:30.610" v="1076"/>
          <ac:spMkLst>
            <pc:docMk/>
            <pc:sldMk cId="3527990950" sldId="269"/>
            <ac:spMk id="15" creationId="{959CAB18-5201-1AC0-B710-B5159DA92851}"/>
          </ac:spMkLst>
        </pc:spChg>
        <pc:spChg chg="add del mod">
          <ac:chgData name="Bittner, Bodowin Silvester" userId="7336ac58-4196-4884-88d1-0dfe9a9e63cc" providerId="ADAL" clId="{D81EDA41-055E-49E2-A949-29B9F99910A1}" dt="2024-03-17T18:01:30.610" v="1076"/>
          <ac:spMkLst>
            <pc:docMk/>
            <pc:sldMk cId="3527990950" sldId="269"/>
            <ac:spMk id="16" creationId="{3F9D2854-1E3C-03E7-B903-8875CF161CE1}"/>
          </ac:spMkLst>
        </pc:spChg>
        <pc:spChg chg="add del mod">
          <ac:chgData name="Bittner, Bodowin Silvester" userId="7336ac58-4196-4884-88d1-0dfe9a9e63cc" providerId="ADAL" clId="{D81EDA41-055E-49E2-A949-29B9F99910A1}" dt="2024-03-17T18:01:30.610" v="1076"/>
          <ac:spMkLst>
            <pc:docMk/>
            <pc:sldMk cId="3527990950" sldId="269"/>
            <ac:spMk id="17" creationId="{9122E405-DB79-AF9F-B0B4-E66F0372B8E6}"/>
          </ac:spMkLst>
        </pc:spChg>
        <pc:spChg chg="add del mod">
          <ac:chgData name="Bittner, Bodowin Silvester" userId="7336ac58-4196-4884-88d1-0dfe9a9e63cc" providerId="ADAL" clId="{D81EDA41-055E-49E2-A949-29B9F99910A1}" dt="2024-03-17T18:01:30.610" v="1076"/>
          <ac:spMkLst>
            <pc:docMk/>
            <pc:sldMk cId="3527990950" sldId="269"/>
            <ac:spMk id="18" creationId="{2D4D0DA0-E244-635D-F370-6E3097EFABE3}"/>
          </ac:spMkLst>
        </pc:spChg>
        <pc:spChg chg="add mod topLvl">
          <ac:chgData name="Bittner, Bodowin Silvester" userId="7336ac58-4196-4884-88d1-0dfe9a9e63cc" providerId="ADAL" clId="{D81EDA41-055E-49E2-A949-29B9F99910A1}" dt="2024-03-17T18:07:31.902" v="1278" actId="1076"/>
          <ac:spMkLst>
            <pc:docMk/>
            <pc:sldMk cId="3527990950" sldId="269"/>
            <ac:spMk id="19" creationId="{D20F7C7D-950C-522D-675D-9D56A56B9B6A}"/>
          </ac:spMkLst>
        </pc:spChg>
        <pc:spChg chg="add mod topLvl">
          <ac:chgData name="Bittner, Bodowin Silvester" userId="7336ac58-4196-4884-88d1-0dfe9a9e63cc" providerId="ADAL" clId="{D81EDA41-055E-49E2-A949-29B9F99910A1}" dt="2024-03-17T18:07:31.902" v="1278" actId="1076"/>
          <ac:spMkLst>
            <pc:docMk/>
            <pc:sldMk cId="3527990950" sldId="269"/>
            <ac:spMk id="20" creationId="{78AA8BF2-42C9-2F03-E2FC-79E430F4C40C}"/>
          </ac:spMkLst>
        </pc:spChg>
        <pc:spChg chg="add mod topLvl">
          <ac:chgData name="Bittner, Bodowin Silvester" userId="7336ac58-4196-4884-88d1-0dfe9a9e63cc" providerId="ADAL" clId="{D81EDA41-055E-49E2-A949-29B9F99910A1}" dt="2024-03-17T18:07:31.902" v="1278" actId="1076"/>
          <ac:spMkLst>
            <pc:docMk/>
            <pc:sldMk cId="3527990950" sldId="269"/>
            <ac:spMk id="21" creationId="{9F4C23FE-182E-4B9B-EA2B-B7BEB33D695C}"/>
          </ac:spMkLst>
        </pc:spChg>
        <pc:spChg chg="add mod topLvl">
          <ac:chgData name="Bittner, Bodowin Silvester" userId="7336ac58-4196-4884-88d1-0dfe9a9e63cc" providerId="ADAL" clId="{D81EDA41-055E-49E2-A949-29B9F99910A1}" dt="2024-03-17T18:07:31.902" v="1278" actId="1076"/>
          <ac:spMkLst>
            <pc:docMk/>
            <pc:sldMk cId="3527990950" sldId="269"/>
            <ac:spMk id="22" creationId="{97585696-CF16-A718-9890-63AE01DD58BD}"/>
          </ac:spMkLst>
        </pc:spChg>
        <pc:spChg chg="add del mod">
          <ac:chgData name="Bittner, Bodowin Silvester" userId="7336ac58-4196-4884-88d1-0dfe9a9e63cc" providerId="ADAL" clId="{D81EDA41-055E-49E2-A949-29B9F99910A1}" dt="2024-03-17T18:01:48.012" v="1083" actId="478"/>
          <ac:spMkLst>
            <pc:docMk/>
            <pc:sldMk cId="3527990950" sldId="269"/>
            <ac:spMk id="23" creationId="{687C3CA5-C0E7-1FD9-2D62-EA2D64A7EDB1}"/>
          </ac:spMkLst>
        </pc:spChg>
        <pc:spChg chg="add mod topLvl">
          <ac:chgData name="Bittner, Bodowin Silvester" userId="7336ac58-4196-4884-88d1-0dfe9a9e63cc" providerId="ADAL" clId="{D81EDA41-055E-49E2-A949-29B9F99910A1}" dt="2024-03-17T18:07:31.902" v="1278" actId="1076"/>
          <ac:spMkLst>
            <pc:docMk/>
            <pc:sldMk cId="3527990950" sldId="269"/>
            <ac:spMk id="24" creationId="{966F0463-C488-79B6-21E1-F61D7F9AD6BF}"/>
          </ac:spMkLst>
        </pc:spChg>
        <pc:spChg chg="add mod topLvl">
          <ac:chgData name="Bittner, Bodowin Silvester" userId="7336ac58-4196-4884-88d1-0dfe9a9e63cc" providerId="ADAL" clId="{D81EDA41-055E-49E2-A949-29B9F99910A1}" dt="2024-03-17T18:07:31.902" v="1278" actId="1076"/>
          <ac:spMkLst>
            <pc:docMk/>
            <pc:sldMk cId="3527990950" sldId="269"/>
            <ac:spMk id="25" creationId="{7CDD8947-E639-13FB-1EE7-744C3775B4B5}"/>
          </ac:spMkLst>
        </pc:spChg>
        <pc:spChg chg="add mod topLvl">
          <ac:chgData name="Bittner, Bodowin Silvester" userId="7336ac58-4196-4884-88d1-0dfe9a9e63cc" providerId="ADAL" clId="{D81EDA41-055E-49E2-A949-29B9F99910A1}" dt="2024-03-17T18:07:31.902" v="1278" actId="1076"/>
          <ac:spMkLst>
            <pc:docMk/>
            <pc:sldMk cId="3527990950" sldId="269"/>
            <ac:spMk id="26" creationId="{FFA6EAF7-4D11-EC87-E31F-982E464AF63A}"/>
          </ac:spMkLst>
        </pc:spChg>
        <pc:spChg chg="add mod topLvl">
          <ac:chgData name="Bittner, Bodowin Silvester" userId="7336ac58-4196-4884-88d1-0dfe9a9e63cc" providerId="ADAL" clId="{D81EDA41-055E-49E2-A949-29B9F99910A1}" dt="2024-03-17T18:07:31.902" v="1278" actId="1076"/>
          <ac:spMkLst>
            <pc:docMk/>
            <pc:sldMk cId="3527990950" sldId="269"/>
            <ac:spMk id="27" creationId="{196FEC84-77DA-56DE-951B-42F357A1ABA9}"/>
          </ac:spMkLst>
        </pc:spChg>
        <pc:spChg chg="add mod topLvl">
          <ac:chgData name="Bittner, Bodowin Silvester" userId="7336ac58-4196-4884-88d1-0dfe9a9e63cc" providerId="ADAL" clId="{D81EDA41-055E-49E2-A949-29B9F99910A1}" dt="2024-03-17T18:07:31.902" v="1278" actId="1076"/>
          <ac:spMkLst>
            <pc:docMk/>
            <pc:sldMk cId="3527990950" sldId="269"/>
            <ac:spMk id="29" creationId="{F8448FF0-2C5B-150C-44B3-0CADBEB6E885}"/>
          </ac:spMkLst>
        </pc:spChg>
        <pc:spChg chg="add mod topLvl">
          <ac:chgData name="Bittner, Bodowin Silvester" userId="7336ac58-4196-4884-88d1-0dfe9a9e63cc" providerId="ADAL" clId="{D81EDA41-055E-49E2-A949-29B9F99910A1}" dt="2024-03-17T18:07:31.902" v="1278" actId="1076"/>
          <ac:spMkLst>
            <pc:docMk/>
            <pc:sldMk cId="3527990950" sldId="269"/>
            <ac:spMk id="30" creationId="{2AA60729-1790-0B46-0840-A0FC433995AF}"/>
          </ac:spMkLst>
        </pc:spChg>
        <pc:spChg chg="add del mod">
          <ac:chgData name="Bittner, Bodowin Silvester" userId="7336ac58-4196-4884-88d1-0dfe9a9e63cc" providerId="ADAL" clId="{D81EDA41-055E-49E2-A949-29B9F99910A1}" dt="2024-03-17T18:04:03.669" v="1187" actId="478"/>
          <ac:spMkLst>
            <pc:docMk/>
            <pc:sldMk cId="3527990950" sldId="269"/>
            <ac:spMk id="31" creationId="{0E82017D-E245-7F4D-CD91-6494474A93D2}"/>
          </ac:spMkLst>
        </pc:spChg>
        <pc:spChg chg="add del mod">
          <ac:chgData name="Bittner, Bodowin Silvester" userId="7336ac58-4196-4884-88d1-0dfe9a9e63cc" providerId="ADAL" clId="{D81EDA41-055E-49E2-A949-29B9F99910A1}" dt="2024-03-17T18:04:12.981" v="1188" actId="478"/>
          <ac:spMkLst>
            <pc:docMk/>
            <pc:sldMk cId="3527990950" sldId="269"/>
            <ac:spMk id="33" creationId="{DEDF28D3-E3A8-6525-C19C-3F496C53879B}"/>
          </ac:spMkLst>
        </pc:spChg>
        <pc:grpChg chg="add del mod">
          <ac:chgData name="Bittner, Bodowin Silvester" userId="7336ac58-4196-4884-88d1-0dfe9a9e63cc" providerId="ADAL" clId="{D81EDA41-055E-49E2-A949-29B9F99910A1}" dt="2024-03-17T18:02:16.253" v="1087" actId="165"/>
          <ac:grpSpMkLst>
            <pc:docMk/>
            <pc:sldMk cId="3527990950" sldId="269"/>
            <ac:grpSpMk id="28" creationId="{D74127A6-EFFB-621B-8D6C-792102AB7444}"/>
          </ac:grpSpMkLst>
        </pc:grpChg>
        <pc:graphicFrameChg chg="add mod ord modVis replST">
          <ac:chgData name="Bittner, Bodowin Silvester" userId="7336ac58-4196-4884-88d1-0dfe9a9e63cc" providerId="ADAL" clId="{D81EDA41-055E-49E2-A949-29B9F99910A1}" dt="2024-03-17T18:01:22.480" v="1070"/>
          <ac:graphicFrameMkLst>
            <pc:docMk/>
            <pc:sldMk cId="3527990950" sldId="269"/>
            <ac:graphicFrameMk id="3" creationId="{33432F2F-852E-71FD-C939-8EA0A0A53D36}"/>
          </ac:graphicFrameMkLst>
        </pc:graphicFrameChg>
        <pc:picChg chg="add mod">
          <ac:chgData name="Bittner, Bodowin Silvester" userId="7336ac58-4196-4884-88d1-0dfe9a9e63cc" providerId="ADAL" clId="{D81EDA41-055E-49E2-A949-29B9F99910A1}" dt="2024-03-17T18:08:22.096" v="1286" actId="207"/>
          <ac:picMkLst>
            <pc:docMk/>
            <pc:sldMk cId="3527990950" sldId="269"/>
            <ac:picMk id="34" creationId="{4F84CD91-D13C-F3C8-61A2-542C98680745}"/>
          </ac:picMkLst>
        </pc:picChg>
        <pc:picChg chg="add mod">
          <ac:chgData name="Bittner, Bodowin Silvester" userId="7336ac58-4196-4884-88d1-0dfe9a9e63cc" providerId="ADAL" clId="{D81EDA41-055E-49E2-A949-29B9F99910A1}" dt="2024-03-17T18:08:22.096" v="1286" actId="207"/>
          <ac:picMkLst>
            <pc:docMk/>
            <pc:sldMk cId="3527990950" sldId="269"/>
            <ac:picMk id="35" creationId="{2FABB56E-1934-BAA5-F7A9-C09247FC425F}"/>
          </ac:picMkLst>
        </pc:picChg>
        <pc:picChg chg="add mod">
          <ac:chgData name="Bittner, Bodowin Silvester" userId="7336ac58-4196-4884-88d1-0dfe9a9e63cc" providerId="ADAL" clId="{D81EDA41-055E-49E2-A949-29B9F99910A1}" dt="2024-03-17T18:08:22.096" v="1286" actId="207"/>
          <ac:picMkLst>
            <pc:docMk/>
            <pc:sldMk cId="3527990950" sldId="269"/>
            <ac:picMk id="36" creationId="{5927A58E-FADD-9BF5-BA26-9BB177EE0D07}"/>
          </ac:picMkLst>
        </pc:picChg>
        <pc:picChg chg="add mod">
          <ac:chgData name="Bittner, Bodowin Silvester" userId="7336ac58-4196-4884-88d1-0dfe9a9e63cc" providerId="ADAL" clId="{D81EDA41-055E-49E2-A949-29B9F99910A1}" dt="2024-03-17T18:08:22.096" v="1286" actId="207"/>
          <ac:picMkLst>
            <pc:docMk/>
            <pc:sldMk cId="3527990950" sldId="269"/>
            <ac:picMk id="37" creationId="{3C4050C3-6BFE-A3F5-2309-9B73D0D0D6AF}"/>
          </ac:picMkLst>
        </pc:picChg>
        <pc:picChg chg="add mod">
          <ac:chgData name="Bittner, Bodowin Silvester" userId="7336ac58-4196-4884-88d1-0dfe9a9e63cc" providerId="ADAL" clId="{D81EDA41-055E-49E2-A949-29B9F99910A1}" dt="2024-03-17T18:08:22.096" v="1286" actId="207"/>
          <ac:picMkLst>
            <pc:docMk/>
            <pc:sldMk cId="3527990950" sldId="269"/>
            <ac:picMk id="38" creationId="{8826F166-24C7-45B3-C41F-687D51BCE79A}"/>
          </ac:picMkLst>
        </pc:picChg>
      </pc:sldChg>
      <pc:sldChg chg="addSp delSp modSp add mod">
        <pc:chgData name="Bittner, Bodowin Silvester" userId="7336ac58-4196-4884-88d1-0dfe9a9e63cc" providerId="ADAL" clId="{D81EDA41-055E-49E2-A949-29B9F99910A1}" dt="2024-03-17T18:07:08.914" v="1275"/>
        <pc:sldMkLst>
          <pc:docMk/>
          <pc:sldMk cId="2287302605" sldId="270"/>
        </pc:sldMkLst>
        <pc:spChg chg="add del mod">
          <ac:chgData name="Bittner, Bodowin Silvester" userId="7336ac58-4196-4884-88d1-0dfe9a9e63cc" providerId="ADAL" clId="{D81EDA41-055E-49E2-A949-29B9F99910A1}" dt="2024-03-17T18:05:41.631" v="1204" actId="478"/>
          <ac:spMkLst>
            <pc:docMk/>
            <pc:sldMk cId="2287302605" sldId="270"/>
            <ac:spMk id="3" creationId="{61349AF9-1ECA-E03A-B556-3296242CEA98}"/>
          </ac:spMkLst>
        </pc:spChg>
        <pc:spChg chg="mod">
          <ac:chgData name="Bittner, Bodowin Silvester" userId="7336ac58-4196-4884-88d1-0dfe9a9e63cc" providerId="ADAL" clId="{D81EDA41-055E-49E2-A949-29B9F99910A1}" dt="2024-03-17T18:07:08.824" v="1236" actId="948"/>
          <ac:spMkLst>
            <pc:docMk/>
            <pc:sldMk cId="2287302605" sldId="270"/>
            <ac:spMk id="6" creationId="{6A4FD04E-F4E5-4C20-8824-ED6C28B10A98}"/>
          </ac:spMkLst>
        </pc:spChg>
        <pc:spChg chg="del">
          <ac:chgData name="Bittner, Bodowin Silvester" userId="7336ac58-4196-4884-88d1-0dfe9a9e63cc" providerId="ADAL" clId="{D81EDA41-055E-49E2-A949-29B9F99910A1}" dt="2024-03-17T18:05:39.813" v="1203" actId="478"/>
          <ac:spMkLst>
            <pc:docMk/>
            <pc:sldMk cId="2287302605" sldId="270"/>
            <ac:spMk id="7" creationId="{82ADF10E-43B0-4A66-975F-E9169C64D98E}"/>
          </ac:spMkLst>
        </pc:spChg>
        <pc:spChg chg="add del mod">
          <ac:chgData name="Bittner, Bodowin Silvester" userId="7336ac58-4196-4884-88d1-0dfe9a9e63cc" providerId="ADAL" clId="{D81EDA41-055E-49E2-A949-29B9F99910A1}" dt="2024-03-17T18:06:43.958" v="1220" actId="207"/>
          <ac:spMkLst>
            <pc:docMk/>
            <pc:sldMk cId="2287302605" sldId="270"/>
            <ac:spMk id="8" creationId="{07165E5B-08B4-D990-71F8-E1C5869D8979}"/>
          </ac:spMkLst>
        </pc:spChg>
        <pc:spChg chg="add mod">
          <ac:chgData name="Bittner, Bodowin Silvester" userId="7336ac58-4196-4884-88d1-0dfe9a9e63cc" providerId="ADAL" clId="{D81EDA41-055E-49E2-A949-29B9F99910A1}" dt="2024-03-17T18:05:51.597" v="1206" actId="1076"/>
          <ac:spMkLst>
            <pc:docMk/>
            <pc:sldMk cId="2287302605" sldId="270"/>
            <ac:spMk id="9" creationId="{865AC6FD-1334-40DB-0FF5-4504F0111AFC}"/>
          </ac:spMkLst>
        </pc:spChg>
        <pc:spChg chg="add mod">
          <ac:chgData name="Bittner, Bodowin Silvester" userId="7336ac58-4196-4884-88d1-0dfe9a9e63cc" providerId="ADAL" clId="{D81EDA41-055E-49E2-A949-29B9F99910A1}" dt="2024-03-17T18:06:06.257" v="1211" actId="6549"/>
          <ac:spMkLst>
            <pc:docMk/>
            <pc:sldMk cId="2287302605" sldId="270"/>
            <ac:spMk id="10" creationId="{12729CF9-E64E-9DB0-DFEB-7365AC7124F3}"/>
          </ac:spMkLst>
        </pc:spChg>
        <pc:spChg chg="add del mod">
          <ac:chgData name="Bittner, Bodowin Silvester" userId="7336ac58-4196-4884-88d1-0dfe9a9e63cc" providerId="ADAL" clId="{D81EDA41-055E-49E2-A949-29B9F99910A1}" dt="2024-03-17T18:06:47.653" v="1222"/>
          <ac:spMkLst>
            <pc:docMk/>
            <pc:sldMk cId="2287302605" sldId="270"/>
            <ac:spMk id="13" creationId="{452D2366-5D57-0B7D-0EBC-E6316C28BD24}"/>
          </ac:spMkLst>
        </pc:spChg>
        <pc:spChg chg="add mod">
          <ac:chgData name="Bittner, Bodowin Silvester" userId="7336ac58-4196-4884-88d1-0dfe9a9e63cc" providerId="ADAL" clId="{D81EDA41-055E-49E2-A949-29B9F99910A1}" dt="2024-03-17T18:06:57.596" v="1226" actId="1076"/>
          <ac:spMkLst>
            <pc:docMk/>
            <pc:sldMk cId="2287302605" sldId="270"/>
            <ac:spMk id="15" creationId="{D9B5731F-8894-3065-87CA-5B2EDE5FFACD}"/>
          </ac:spMkLst>
        </pc:spChg>
        <pc:spChg chg="add del mod modVis">
          <ac:chgData name="Bittner, Bodowin Silvester" userId="7336ac58-4196-4884-88d1-0dfe9a9e63cc" providerId="ADAL" clId="{D81EDA41-055E-49E2-A949-29B9F99910A1}" dt="2024-03-17T18:07:08.878" v="1260"/>
          <ac:spMkLst>
            <pc:docMk/>
            <pc:sldMk cId="2287302605" sldId="270"/>
            <ac:spMk id="16" creationId="{BEAFEF4D-61BF-14E3-9713-9F84C8115590}"/>
          </ac:spMkLst>
        </pc:spChg>
        <pc:graphicFrameChg chg="add mod ord modVis replST">
          <ac:chgData name="Bittner, Bodowin Silvester" userId="7336ac58-4196-4884-88d1-0dfe9a9e63cc" providerId="ADAL" clId="{D81EDA41-055E-49E2-A949-29B9F99910A1}" dt="2024-03-17T18:07:08.914" v="1275"/>
          <ac:graphicFrameMkLst>
            <pc:docMk/>
            <pc:sldMk cId="2287302605" sldId="270"/>
            <ac:graphicFrameMk id="17" creationId="{B849968D-3436-E3DA-7685-7FAEC5E17E39}"/>
          </ac:graphicFrameMkLst>
        </pc:graphicFrameChg>
        <pc:picChg chg="add mod">
          <ac:chgData name="Bittner, Bodowin Silvester" userId="7336ac58-4196-4884-88d1-0dfe9a9e63cc" providerId="ADAL" clId="{D81EDA41-055E-49E2-A949-29B9F99910A1}" dt="2024-03-17T18:06:22.355" v="1214" actId="207"/>
          <ac:picMkLst>
            <pc:docMk/>
            <pc:sldMk cId="2287302605" sldId="270"/>
            <ac:picMk id="12" creationId="{EC447087-16B2-24AB-CD4C-E3ABEAB0A42E}"/>
          </ac:picMkLst>
        </pc:picChg>
      </pc:sldChg>
      <pc:sldMasterChg chg="addSp delSp modSp mod modSldLayout">
        <pc:chgData name="Bittner, Bodowin Silvester" userId="7336ac58-4196-4884-88d1-0dfe9a9e63cc" providerId="ADAL" clId="{D81EDA41-055E-49E2-A949-29B9F99910A1}" dt="2024-03-17T17:56:29.395" v="912"/>
        <pc:sldMasterMkLst>
          <pc:docMk/>
          <pc:sldMasterMk cId="2873087812" sldId="2147483648"/>
        </pc:sldMasterMkLst>
        <pc:spChg chg="mod">
          <ac:chgData name="Bittner, Bodowin Silvester" userId="7336ac58-4196-4884-88d1-0dfe9a9e63cc" providerId="ADAL" clId="{D81EDA41-055E-49E2-A949-29B9F99910A1}" dt="2024-03-17T14:07:33.341" v="30" actId="948"/>
          <ac:spMkLst>
            <pc:docMk/>
            <pc:sldMasterMk cId="2873087812" sldId="2147483648"/>
            <ac:spMk id="2" creationId="{00000000-0000-0000-0000-000000000000}"/>
          </ac:spMkLst>
        </pc:spChg>
        <pc:spChg chg="mod">
          <ac:chgData name="Bittner, Bodowin Silvester" userId="7336ac58-4196-4884-88d1-0dfe9a9e63cc" providerId="ADAL" clId="{D81EDA41-055E-49E2-A949-29B9F99910A1}" dt="2024-03-17T17:56:29.395" v="912"/>
          <ac:spMkLst>
            <pc:docMk/>
            <pc:sldMasterMk cId="2873087812" sldId="2147483648"/>
            <ac:spMk id="4" creationId="{24E08F28-5ED9-497F-8AE1-EDBEA8C7CD00}"/>
          </ac:spMkLst>
        </pc:spChg>
        <pc:spChg chg="add del mod modVis">
          <ac:chgData name="Bittner, Bodowin Silvester" userId="7336ac58-4196-4884-88d1-0dfe9a9e63cc" providerId="ADAL" clId="{D81EDA41-055E-49E2-A949-29B9F99910A1}" dt="2024-03-17T14:07:33.400" v="71"/>
          <ac:spMkLst>
            <pc:docMk/>
            <pc:sldMasterMk cId="2873087812" sldId="2147483648"/>
            <ac:spMk id="8" creationId="{AF53856D-C5C8-29F4-F166-ABBC33AC54DF}"/>
          </ac:spMkLst>
        </pc:spChg>
        <pc:graphicFrameChg chg="add mod ord modVis replST">
          <ac:chgData name="Bittner, Bodowin Silvester" userId="7336ac58-4196-4884-88d1-0dfe9a9e63cc" providerId="ADAL" clId="{D81EDA41-055E-49E2-A949-29B9F99910A1}" dt="2024-03-17T14:07:33.417" v="86"/>
          <ac:graphicFrameMkLst>
            <pc:docMk/>
            <pc:sldMasterMk cId="2873087812" sldId="2147483648"/>
            <ac:graphicFrameMk id="9" creationId="{D1CCBEED-D982-01D7-394A-9CEDA87FF836}"/>
          </ac:graphicFrameMkLst>
        </pc:graphicFrameChg>
        <pc:sldLayoutChg chg="modSp">
          <pc:chgData name="Bittner, Bodowin Silvester" userId="7336ac58-4196-4884-88d1-0dfe9a9e63cc" providerId="ADAL" clId="{D81EDA41-055E-49E2-A949-29B9F99910A1}" dt="2024-03-17T17:56:29.395" v="912"/>
          <pc:sldLayoutMkLst>
            <pc:docMk/>
            <pc:sldMasterMk cId="2873087812" sldId="2147483648"/>
            <pc:sldLayoutMk cId="3754758671" sldId="2147483661"/>
          </pc:sldLayoutMkLst>
          <pc:spChg chg="mod">
            <ac:chgData name="Bittner, Bodowin Silvester" userId="7336ac58-4196-4884-88d1-0dfe9a9e63cc" providerId="ADAL" clId="{D81EDA41-055E-49E2-A949-29B9F99910A1}" dt="2024-03-17T17:56:29.395" v="912"/>
            <ac:spMkLst>
              <pc:docMk/>
              <pc:sldMasterMk cId="2873087812" sldId="2147483648"/>
              <pc:sldLayoutMk cId="3754758671" sldId="2147483661"/>
              <ac:spMk id="2" creationId="{BF34B061-0D40-4791-A41B-682280B19424}"/>
            </ac:spMkLst>
          </pc:spChg>
        </pc:sldLayoutChg>
        <pc:sldLayoutChg chg="modSp">
          <pc:chgData name="Bittner, Bodowin Silvester" userId="7336ac58-4196-4884-88d1-0dfe9a9e63cc" providerId="ADAL" clId="{D81EDA41-055E-49E2-A949-29B9F99910A1}" dt="2024-03-17T17:56:29.395" v="912"/>
          <pc:sldLayoutMkLst>
            <pc:docMk/>
            <pc:sldMasterMk cId="2873087812" sldId="2147483648"/>
            <pc:sldLayoutMk cId="52649224" sldId="2147483662"/>
          </pc:sldLayoutMkLst>
          <pc:spChg chg="mod">
            <ac:chgData name="Bittner, Bodowin Silvester" userId="7336ac58-4196-4884-88d1-0dfe9a9e63cc" providerId="ADAL" clId="{D81EDA41-055E-49E2-A949-29B9F99910A1}" dt="2024-03-17T17:56:29.395" v="912"/>
            <ac:spMkLst>
              <pc:docMk/>
              <pc:sldMasterMk cId="2873087812" sldId="2147483648"/>
              <pc:sldLayoutMk cId="52649224" sldId="2147483662"/>
              <ac:spMk id="11" creationId="{6A27FB59-6516-4608-814D-69599966B78B}"/>
            </ac:spMkLst>
          </pc:spChg>
        </pc:sldLayoutChg>
        <pc:sldLayoutChg chg="modSp">
          <pc:chgData name="Bittner, Bodowin Silvester" userId="7336ac58-4196-4884-88d1-0dfe9a9e63cc" providerId="ADAL" clId="{D81EDA41-055E-49E2-A949-29B9F99910A1}" dt="2024-03-17T17:56:29.395" v="912"/>
          <pc:sldLayoutMkLst>
            <pc:docMk/>
            <pc:sldMasterMk cId="2873087812" sldId="2147483648"/>
            <pc:sldLayoutMk cId="1061129701" sldId="2147483664"/>
          </pc:sldLayoutMkLst>
          <pc:spChg chg="mod">
            <ac:chgData name="Bittner, Bodowin Silvester" userId="7336ac58-4196-4884-88d1-0dfe9a9e63cc" providerId="ADAL" clId="{D81EDA41-055E-49E2-A949-29B9F99910A1}" dt="2024-03-17T17:56:29.395" v="912"/>
            <ac:spMkLst>
              <pc:docMk/>
              <pc:sldMasterMk cId="2873087812" sldId="2147483648"/>
              <pc:sldLayoutMk cId="1061129701" sldId="2147483664"/>
              <ac:spMk id="2" creationId="{5107673A-A21E-4664-8E91-00B707F809AF}"/>
            </ac:spMkLst>
          </pc:spChg>
        </pc:sldLayoutChg>
        <pc:sldLayoutChg chg="modSp">
          <pc:chgData name="Bittner, Bodowin Silvester" userId="7336ac58-4196-4884-88d1-0dfe9a9e63cc" providerId="ADAL" clId="{D81EDA41-055E-49E2-A949-29B9F99910A1}" dt="2024-03-17T17:56:29.395" v="912"/>
          <pc:sldLayoutMkLst>
            <pc:docMk/>
            <pc:sldMasterMk cId="2873087812" sldId="2147483648"/>
            <pc:sldLayoutMk cId="2915513310" sldId="2147483665"/>
          </pc:sldLayoutMkLst>
          <pc:spChg chg="mod">
            <ac:chgData name="Bittner, Bodowin Silvester" userId="7336ac58-4196-4884-88d1-0dfe9a9e63cc" providerId="ADAL" clId="{D81EDA41-055E-49E2-A949-29B9F99910A1}" dt="2024-03-17T17:56:29.395" v="912"/>
            <ac:spMkLst>
              <pc:docMk/>
              <pc:sldMasterMk cId="2873087812" sldId="2147483648"/>
              <pc:sldLayoutMk cId="2915513310" sldId="2147483665"/>
              <ac:spMk id="5" creationId="{6379EACA-542A-420D-9102-D87CB5A1169C}"/>
            </ac:spMkLst>
          </pc:spChg>
        </pc:sldLayoutChg>
        <pc:sldLayoutChg chg="modSp">
          <pc:chgData name="Bittner, Bodowin Silvester" userId="7336ac58-4196-4884-88d1-0dfe9a9e63cc" providerId="ADAL" clId="{D81EDA41-055E-49E2-A949-29B9F99910A1}" dt="2024-03-17T17:56:29.395" v="912"/>
          <pc:sldLayoutMkLst>
            <pc:docMk/>
            <pc:sldMasterMk cId="2873087812" sldId="2147483648"/>
            <pc:sldLayoutMk cId="976244899" sldId="2147483666"/>
          </pc:sldLayoutMkLst>
          <pc:spChg chg="mod">
            <ac:chgData name="Bittner, Bodowin Silvester" userId="7336ac58-4196-4884-88d1-0dfe9a9e63cc" providerId="ADAL" clId="{D81EDA41-055E-49E2-A949-29B9F99910A1}" dt="2024-03-17T17:56:29.395" v="912"/>
            <ac:spMkLst>
              <pc:docMk/>
              <pc:sldMasterMk cId="2873087812" sldId="2147483648"/>
              <pc:sldLayoutMk cId="976244899" sldId="2147483666"/>
              <ac:spMk id="2" creationId="{CEA78A91-4834-4955-816B-A33BE7851562}"/>
            </ac:spMkLst>
          </pc:spChg>
        </pc:sldLayoutChg>
        <pc:sldLayoutChg chg="modSp">
          <pc:chgData name="Bittner, Bodowin Silvester" userId="7336ac58-4196-4884-88d1-0dfe9a9e63cc" providerId="ADAL" clId="{D81EDA41-055E-49E2-A949-29B9F99910A1}" dt="2024-03-17T17:56:29.395" v="912"/>
          <pc:sldLayoutMkLst>
            <pc:docMk/>
            <pc:sldMasterMk cId="2873087812" sldId="2147483648"/>
            <pc:sldLayoutMk cId="235048920" sldId="2147483668"/>
          </pc:sldLayoutMkLst>
          <pc:spChg chg="mod">
            <ac:chgData name="Bittner, Bodowin Silvester" userId="7336ac58-4196-4884-88d1-0dfe9a9e63cc" providerId="ADAL" clId="{D81EDA41-055E-49E2-A949-29B9F99910A1}" dt="2024-03-17T17:56:29.395" v="912"/>
            <ac:spMkLst>
              <pc:docMk/>
              <pc:sldMasterMk cId="2873087812" sldId="2147483648"/>
              <pc:sldLayoutMk cId="235048920" sldId="2147483668"/>
              <ac:spMk id="2" creationId="{9913C93F-4C12-40C1-A6ED-7A7506D85F4A}"/>
            </ac:spMkLst>
          </pc:spChg>
        </pc:sldLayoutChg>
      </pc:sldMasterChg>
    </pc:docChg>
  </pc:docChgLst>
  <pc:docChgLst>
    <pc:chgData name="Bittner, Bodowin Silvester" userId="7336ac58-4196-4884-88d1-0dfe9a9e63cc" providerId="ADAL" clId="{EF851D9D-8985-41D7-9F7A-DB5DF06E4443}"/>
    <pc:docChg chg="undo custSel addSld delSld modSld sldOrd replTag">
      <pc:chgData name="Bittner, Bodowin Silvester" userId="7336ac58-4196-4884-88d1-0dfe9a9e63cc" providerId="ADAL" clId="{EF851D9D-8985-41D7-9F7A-DB5DF06E4443}" dt="2024-04-12T09:26:53.792" v="3114" actId="1076"/>
      <pc:docMkLst>
        <pc:docMk/>
      </pc:docMkLst>
      <pc:sldChg chg="addSp delSp modSp mod">
        <pc:chgData name="Bittner, Bodowin Silvester" userId="7336ac58-4196-4884-88d1-0dfe9a9e63cc" providerId="ADAL" clId="{EF851D9D-8985-41D7-9F7A-DB5DF06E4443}" dt="2024-04-12T09:26:12.774" v="3109" actId="20577"/>
        <pc:sldMkLst>
          <pc:docMk/>
          <pc:sldMk cId="2734687798" sldId="263"/>
        </pc:sldMkLst>
        <pc:spChg chg="add del mod modVis">
          <ac:chgData name="Bittner, Bodowin Silvester" userId="7336ac58-4196-4884-88d1-0dfe9a9e63cc" providerId="ADAL" clId="{EF851D9D-8985-41D7-9F7A-DB5DF06E4443}" dt="2024-04-12T09:17:34.091" v="2601"/>
          <ac:spMkLst>
            <pc:docMk/>
            <pc:sldMk cId="2734687798" sldId="263"/>
            <ac:spMk id="2" creationId="{E1D312D4-20ED-23B2-4A33-01D7EC1EEC0F}"/>
          </ac:spMkLst>
        </pc:spChg>
        <pc:spChg chg="add del mod modVis">
          <ac:chgData name="Bittner, Bodowin Silvester" userId="7336ac58-4196-4884-88d1-0dfe9a9e63cc" providerId="ADAL" clId="{EF851D9D-8985-41D7-9F7A-DB5DF06E4443}" dt="2024-04-12T09:17:36.238" v="2640"/>
          <ac:spMkLst>
            <pc:docMk/>
            <pc:sldMk cId="2734687798" sldId="263"/>
            <ac:spMk id="4" creationId="{33DC7F5D-67BF-F9EB-3741-C2AB97FA548D}"/>
          </ac:spMkLst>
        </pc:spChg>
        <pc:spChg chg="mod">
          <ac:chgData name="Bittner, Bodowin Silvester" userId="7336ac58-4196-4884-88d1-0dfe9a9e63cc" providerId="ADAL" clId="{EF851D9D-8985-41D7-9F7A-DB5DF06E4443}" dt="2024-04-12T09:17:36.176" v="2616" actId="948"/>
          <ac:spMkLst>
            <pc:docMk/>
            <pc:sldMk cId="2734687798" sldId="263"/>
            <ac:spMk id="6" creationId="{B1EE7A55-1D41-490E-91EF-6B1065D289E5}"/>
          </ac:spMkLst>
        </pc:spChg>
        <pc:spChg chg="mod">
          <ac:chgData name="Bittner, Bodowin Silvester" userId="7336ac58-4196-4884-88d1-0dfe9a9e63cc" providerId="ADAL" clId="{EF851D9D-8985-41D7-9F7A-DB5DF06E4443}" dt="2024-04-12T09:26:12.774" v="3109" actId="20577"/>
          <ac:spMkLst>
            <pc:docMk/>
            <pc:sldMk cId="2734687798" sldId="263"/>
            <ac:spMk id="7" creationId="{5441A083-FC77-4905-9200-20D18E8DDFA5}"/>
          </ac:spMkLst>
        </pc:spChg>
        <pc:graphicFrameChg chg="mod">
          <ac:chgData name="Bittner, Bodowin Silvester" userId="7336ac58-4196-4884-88d1-0dfe9a9e63cc" providerId="ADAL" clId="{EF851D9D-8985-41D7-9F7A-DB5DF06E4443}" dt="2024-04-12T09:17:36.245" v="2642"/>
          <ac:graphicFrameMkLst>
            <pc:docMk/>
            <pc:sldMk cId="2734687798" sldId="263"/>
            <ac:graphicFrameMk id="3" creationId="{8CEB022A-99E4-E511-B8AA-0E9FD5A54555}"/>
          </ac:graphicFrameMkLst>
        </pc:graphicFrameChg>
      </pc:sldChg>
      <pc:sldChg chg="del">
        <pc:chgData name="Bittner, Bodowin Silvester" userId="7336ac58-4196-4884-88d1-0dfe9a9e63cc" providerId="ADAL" clId="{EF851D9D-8985-41D7-9F7A-DB5DF06E4443}" dt="2024-04-11T22:39:01.114" v="781" actId="47"/>
        <pc:sldMkLst>
          <pc:docMk/>
          <pc:sldMk cId="1637290473" sldId="265"/>
        </pc:sldMkLst>
      </pc:sldChg>
      <pc:sldChg chg="del">
        <pc:chgData name="Bittner, Bodowin Silvester" userId="7336ac58-4196-4884-88d1-0dfe9a9e63cc" providerId="ADAL" clId="{EF851D9D-8985-41D7-9F7A-DB5DF06E4443}" dt="2024-04-12T08:52:13.673" v="1174" actId="47"/>
        <pc:sldMkLst>
          <pc:docMk/>
          <pc:sldMk cId="3527990950" sldId="269"/>
        </pc:sldMkLst>
      </pc:sldChg>
      <pc:sldChg chg="del">
        <pc:chgData name="Bittner, Bodowin Silvester" userId="7336ac58-4196-4884-88d1-0dfe9a9e63cc" providerId="ADAL" clId="{EF851D9D-8985-41D7-9F7A-DB5DF06E4443}" dt="2024-04-12T08:50:59.649" v="1078" actId="47"/>
        <pc:sldMkLst>
          <pc:docMk/>
          <pc:sldMk cId="2287302605" sldId="270"/>
        </pc:sldMkLst>
      </pc:sldChg>
      <pc:sldChg chg="addSp delSp modSp new mod ord">
        <pc:chgData name="Bittner, Bodowin Silvester" userId="7336ac58-4196-4884-88d1-0dfe9a9e63cc" providerId="ADAL" clId="{EF851D9D-8985-41D7-9F7A-DB5DF06E4443}" dt="2024-04-12T09:20:06.607" v="2926" actId="14100"/>
        <pc:sldMkLst>
          <pc:docMk/>
          <pc:sldMk cId="1760102235" sldId="271"/>
        </pc:sldMkLst>
        <pc:spChg chg="mod ord">
          <ac:chgData name="Bittner, Bodowin Silvester" userId="7336ac58-4196-4884-88d1-0dfe9a9e63cc" providerId="ADAL" clId="{EF851D9D-8985-41D7-9F7A-DB5DF06E4443}" dt="2024-04-12T09:18:12.604" v="2867"/>
          <ac:spMkLst>
            <pc:docMk/>
            <pc:sldMk cId="1760102235" sldId="271"/>
            <ac:spMk id="2" creationId="{A97BD695-59CE-DB57-E889-EF94810B7C64}"/>
          </ac:spMkLst>
        </pc:spChg>
        <pc:spChg chg="del">
          <ac:chgData name="Bittner, Bodowin Silvester" userId="7336ac58-4196-4884-88d1-0dfe9a9e63cc" providerId="ADAL" clId="{EF851D9D-8985-41D7-9F7A-DB5DF06E4443}" dt="2024-04-11T22:29:29.114" v="28" actId="478"/>
          <ac:spMkLst>
            <pc:docMk/>
            <pc:sldMk cId="1760102235" sldId="271"/>
            <ac:spMk id="3" creationId="{00E6E560-C3F0-8759-4174-F87EE91EE89B}"/>
          </ac:spMkLst>
        </pc:spChg>
        <pc:spChg chg="mod ord">
          <ac:chgData name="Bittner, Bodowin Silvester" userId="7336ac58-4196-4884-88d1-0dfe9a9e63cc" providerId="ADAL" clId="{EF851D9D-8985-41D7-9F7A-DB5DF06E4443}" dt="2024-04-12T09:18:12.606" v="2869"/>
          <ac:spMkLst>
            <pc:docMk/>
            <pc:sldMk cId="1760102235" sldId="271"/>
            <ac:spMk id="4" creationId="{9E0E8998-51AB-8CDB-4BFB-3B6723A4BA34}"/>
          </ac:spMkLst>
        </pc:spChg>
        <pc:spChg chg="mod ord">
          <ac:chgData name="Bittner, Bodowin Silvester" userId="7336ac58-4196-4884-88d1-0dfe9a9e63cc" providerId="ADAL" clId="{EF851D9D-8985-41D7-9F7A-DB5DF06E4443}" dt="2024-04-12T09:18:12.608" v="2871"/>
          <ac:spMkLst>
            <pc:docMk/>
            <pc:sldMk cId="1760102235" sldId="271"/>
            <ac:spMk id="5" creationId="{5568EE32-331D-9241-2F66-947126D12CCE}"/>
          </ac:spMkLst>
        </pc:spChg>
        <pc:spChg chg="add del mod">
          <ac:chgData name="Bittner, Bodowin Silvester" userId="7336ac58-4196-4884-88d1-0dfe9a9e63cc" providerId="ADAL" clId="{EF851D9D-8985-41D7-9F7A-DB5DF06E4443}" dt="2024-04-11T22:29:48.078" v="30" actId="478"/>
          <ac:spMkLst>
            <pc:docMk/>
            <pc:sldMk cId="1760102235" sldId="271"/>
            <ac:spMk id="7" creationId="{67C1F730-BF4C-568A-BE4B-1A77507922CE}"/>
          </ac:spMkLst>
        </pc:spChg>
        <pc:spChg chg="add mod ord">
          <ac:chgData name="Bittner, Bodowin Silvester" userId="7336ac58-4196-4884-88d1-0dfe9a9e63cc" providerId="ADAL" clId="{EF851D9D-8985-41D7-9F7A-DB5DF06E4443}" dt="2024-04-12T09:18:12.610" v="2873"/>
          <ac:spMkLst>
            <pc:docMk/>
            <pc:sldMk cId="1760102235" sldId="271"/>
            <ac:spMk id="8" creationId="{149C6E66-19DE-6901-6BE1-14BDB4889EF0}"/>
          </ac:spMkLst>
        </pc:spChg>
        <pc:spChg chg="add mod ord">
          <ac:chgData name="Bittner, Bodowin Silvester" userId="7336ac58-4196-4884-88d1-0dfe9a9e63cc" providerId="ADAL" clId="{EF851D9D-8985-41D7-9F7A-DB5DF06E4443}" dt="2024-04-12T09:18:12.612" v="2875"/>
          <ac:spMkLst>
            <pc:docMk/>
            <pc:sldMk cId="1760102235" sldId="271"/>
            <ac:spMk id="9" creationId="{6B0787DF-04F9-E42B-C08A-CECA73CCB939}"/>
          </ac:spMkLst>
        </pc:spChg>
        <pc:spChg chg="add mod ord">
          <ac:chgData name="Bittner, Bodowin Silvester" userId="7336ac58-4196-4884-88d1-0dfe9a9e63cc" providerId="ADAL" clId="{EF851D9D-8985-41D7-9F7A-DB5DF06E4443}" dt="2024-04-12T09:18:12.615" v="2877"/>
          <ac:spMkLst>
            <pc:docMk/>
            <pc:sldMk cId="1760102235" sldId="271"/>
            <ac:spMk id="10" creationId="{36AE48A7-F513-2105-D5D3-4BAC86A83371}"/>
          </ac:spMkLst>
        </pc:spChg>
        <pc:spChg chg="add mod">
          <ac:chgData name="Bittner, Bodowin Silvester" userId="7336ac58-4196-4884-88d1-0dfe9a9e63cc" providerId="ADAL" clId="{EF851D9D-8985-41D7-9F7A-DB5DF06E4443}" dt="2024-04-12T09:18:19.731" v="2908" actId="1076"/>
          <ac:spMkLst>
            <pc:docMk/>
            <pc:sldMk cId="1760102235" sldId="271"/>
            <ac:spMk id="11" creationId="{F33CDB60-A11B-0E08-D71C-BA9ECF1F144C}"/>
          </ac:spMkLst>
        </pc:spChg>
        <pc:spChg chg="add mod">
          <ac:chgData name="Bittner, Bodowin Silvester" userId="7336ac58-4196-4884-88d1-0dfe9a9e63cc" providerId="ADAL" clId="{EF851D9D-8985-41D7-9F7A-DB5DF06E4443}" dt="2024-04-12T09:18:19.731" v="2908" actId="1076"/>
          <ac:spMkLst>
            <pc:docMk/>
            <pc:sldMk cId="1760102235" sldId="271"/>
            <ac:spMk id="12" creationId="{DA780283-C86E-B7D1-AECE-185247C755FA}"/>
          </ac:spMkLst>
        </pc:spChg>
        <pc:spChg chg="add del mod">
          <ac:chgData name="Bittner, Bodowin Silvester" userId="7336ac58-4196-4884-88d1-0dfe9a9e63cc" providerId="ADAL" clId="{EF851D9D-8985-41D7-9F7A-DB5DF06E4443}" dt="2024-04-11T22:30:14.990" v="35" actId="478"/>
          <ac:spMkLst>
            <pc:docMk/>
            <pc:sldMk cId="1760102235" sldId="271"/>
            <ac:spMk id="13" creationId="{4D266DF9-2C23-F712-6A3D-E526765EA76C}"/>
          </ac:spMkLst>
        </pc:spChg>
        <pc:spChg chg="add mod ord">
          <ac:chgData name="Bittner, Bodowin Silvester" userId="7336ac58-4196-4884-88d1-0dfe9a9e63cc" providerId="ADAL" clId="{EF851D9D-8985-41D7-9F7A-DB5DF06E4443}" dt="2024-04-12T09:18:12.619" v="2880"/>
          <ac:spMkLst>
            <pc:docMk/>
            <pc:sldMk cId="1760102235" sldId="271"/>
            <ac:spMk id="14" creationId="{893F7001-9D11-1CD0-34D6-CD75DC961766}"/>
          </ac:spMkLst>
        </pc:spChg>
        <pc:spChg chg="add mod">
          <ac:chgData name="Bittner, Bodowin Silvester" userId="7336ac58-4196-4884-88d1-0dfe9a9e63cc" providerId="ADAL" clId="{EF851D9D-8985-41D7-9F7A-DB5DF06E4443}" dt="2024-04-12T09:18:19.731" v="2908" actId="1076"/>
          <ac:spMkLst>
            <pc:docMk/>
            <pc:sldMk cId="1760102235" sldId="271"/>
            <ac:spMk id="15" creationId="{259EC9B3-A7AD-3AE8-DB13-7FC87F43D675}"/>
          </ac:spMkLst>
        </pc:spChg>
        <pc:spChg chg="add del mod">
          <ac:chgData name="Bittner, Bodowin Silvester" userId="7336ac58-4196-4884-88d1-0dfe9a9e63cc" providerId="ADAL" clId="{EF851D9D-8985-41D7-9F7A-DB5DF06E4443}" dt="2024-04-11T22:32:19.170" v="151" actId="478"/>
          <ac:spMkLst>
            <pc:docMk/>
            <pc:sldMk cId="1760102235" sldId="271"/>
            <ac:spMk id="16" creationId="{AF6DCC94-6848-9AD2-F12D-BCBF41CBC7ED}"/>
          </ac:spMkLst>
        </pc:spChg>
        <pc:spChg chg="add del mod">
          <ac:chgData name="Bittner, Bodowin Silvester" userId="7336ac58-4196-4884-88d1-0dfe9a9e63cc" providerId="ADAL" clId="{EF851D9D-8985-41D7-9F7A-DB5DF06E4443}" dt="2024-04-11T22:31:09.858" v="56"/>
          <ac:spMkLst>
            <pc:docMk/>
            <pc:sldMk cId="1760102235" sldId="271"/>
            <ac:spMk id="17" creationId="{D5C820DE-04E3-47D2-9C40-CC771C9ED5DD}"/>
          </ac:spMkLst>
        </pc:spChg>
        <pc:spChg chg="add del mod">
          <ac:chgData name="Bittner, Bodowin Silvester" userId="7336ac58-4196-4884-88d1-0dfe9a9e63cc" providerId="ADAL" clId="{EF851D9D-8985-41D7-9F7A-DB5DF06E4443}" dt="2024-04-11T22:30:14.990" v="35" actId="478"/>
          <ac:spMkLst>
            <pc:docMk/>
            <pc:sldMk cId="1760102235" sldId="271"/>
            <ac:spMk id="18" creationId="{EA683764-B4B5-D98E-3431-86CFE65C1BF4}"/>
          </ac:spMkLst>
        </pc:spChg>
        <pc:spChg chg="add del mod">
          <ac:chgData name="Bittner, Bodowin Silvester" userId="7336ac58-4196-4884-88d1-0dfe9a9e63cc" providerId="ADAL" clId="{EF851D9D-8985-41D7-9F7A-DB5DF06E4443}" dt="2024-04-11T22:32:19.170" v="151" actId="478"/>
          <ac:spMkLst>
            <pc:docMk/>
            <pc:sldMk cId="1760102235" sldId="271"/>
            <ac:spMk id="19" creationId="{E1A29C25-E9DA-5FAA-301F-42E64F302BB5}"/>
          </ac:spMkLst>
        </pc:spChg>
        <pc:spChg chg="mod">
          <ac:chgData name="Bittner, Bodowin Silvester" userId="7336ac58-4196-4884-88d1-0dfe9a9e63cc" providerId="ADAL" clId="{EF851D9D-8985-41D7-9F7A-DB5DF06E4443}" dt="2024-04-11T22:30:09.602" v="34" actId="1076"/>
          <ac:spMkLst>
            <pc:docMk/>
            <pc:sldMk cId="1760102235" sldId="271"/>
            <ac:spMk id="27" creationId="{DF8D168D-4E15-79FF-0A6F-AF124379582B}"/>
          </ac:spMkLst>
        </pc:spChg>
        <pc:spChg chg="mod">
          <ac:chgData name="Bittner, Bodowin Silvester" userId="7336ac58-4196-4884-88d1-0dfe9a9e63cc" providerId="ADAL" clId="{EF851D9D-8985-41D7-9F7A-DB5DF06E4443}" dt="2024-04-11T22:32:24.659" v="152" actId="1076"/>
          <ac:spMkLst>
            <pc:docMk/>
            <pc:sldMk cId="1760102235" sldId="271"/>
            <ac:spMk id="30" creationId="{E7A884E4-5C9E-F1CB-CF7E-FAC672F0FCB2}"/>
          </ac:spMkLst>
        </pc:spChg>
        <pc:spChg chg="add mod ord">
          <ac:chgData name="Bittner, Bodowin Silvester" userId="7336ac58-4196-4884-88d1-0dfe9a9e63cc" providerId="ADAL" clId="{EF851D9D-8985-41D7-9F7A-DB5DF06E4443}" dt="2024-04-12T09:18:12.632" v="2893"/>
          <ac:spMkLst>
            <pc:docMk/>
            <pc:sldMk cId="1760102235" sldId="271"/>
            <ac:spMk id="32" creationId="{5725CD39-C5A7-5413-647A-83006C432DC9}"/>
          </ac:spMkLst>
        </pc:spChg>
        <pc:spChg chg="add mod ord">
          <ac:chgData name="Bittner, Bodowin Silvester" userId="7336ac58-4196-4884-88d1-0dfe9a9e63cc" providerId="ADAL" clId="{EF851D9D-8985-41D7-9F7A-DB5DF06E4443}" dt="2024-04-12T09:18:12.633" v="2895"/>
          <ac:spMkLst>
            <pc:docMk/>
            <pc:sldMk cId="1760102235" sldId="271"/>
            <ac:spMk id="33" creationId="{218F8B6A-98DF-C64E-88F0-57CC244CBA67}"/>
          </ac:spMkLst>
        </pc:spChg>
        <pc:spChg chg="mod">
          <ac:chgData name="Bittner, Bodowin Silvester" userId="7336ac58-4196-4884-88d1-0dfe9a9e63cc" providerId="ADAL" clId="{EF851D9D-8985-41D7-9F7A-DB5DF06E4443}" dt="2024-04-11T22:30:09.602" v="34" actId="1076"/>
          <ac:spMkLst>
            <pc:docMk/>
            <pc:sldMk cId="1760102235" sldId="271"/>
            <ac:spMk id="35" creationId="{913B3A64-34BD-081E-A35A-C667C149037E}"/>
          </ac:spMkLst>
        </pc:spChg>
        <pc:spChg chg="mod topLvl">
          <ac:chgData name="Bittner, Bodowin Silvester" userId="7336ac58-4196-4884-88d1-0dfe9a9e63cc" providerId="ADAL" clId="{EF851D9D-8985-41D7-9F7A-DB5DF06E4443}" dt="2024-04-12T09:18:34.169" v="2913" actId="478"/>
          <ac:spMkLst>
            <pc:docMk/>
            <pc:sldMk cId="1760102235" sldId="271"/>
            <ac:spMk id="38" creationId="{5A1AC293-8D32-85B2-6612-486746B60CF5}"/>
          </ac:spMkLst>
        </pc:spChg>
        <pc:spChg chg="add mod">
          <ac:chgData name="Bittner, Bodowin Silvester" userId="7336ac58-4196-4884-88d1-0dfe9a9e63cc" providerId="ADAL" clId="{EF851D9D-8985-41D7-9F7A-DB5DF06E4443}" dt="2024-04-12T09:18:19.731" v="2908" actId="1076"/>
          <ac:spMkLst>
            <pc:docMk/>
            <pc:sldMk cId="1760102235" sldId="271"/>
            <ac:spMk id="42" creationId="{4F6D8241-4E76-4A3E-9816-91F127E820D6}"/>
          </ac:spMkLst>
        </pc:spChg>
        <pc:grpChg chg="add del mod">
          <ac:chgData name="Bittner, Bodowin Silvester" userId="7336ac58-4196-4884-88d1-0dfe9a9e63cc" providerId="ADAL" clId="{EF851D9D-8985-41D7-9F7A-DB5DF06E4443}" dt="2024-04-11T22:30:18.157" v="36" actId="478"/>
          <ac:grpSpMkLst>
            <pc:docMk/>
            <pc:sldMk cId="1760102235" sldId="271"/>
            <ac:grpSpMk id="26" creationId="{AA45F5C7-C0C6-48C4-BE53-8F7D042ED73C}"/>
          </ac:grpSpMkLst>
        </pc:grpChg>
        <pc:grpChg chg="add mod ord">
          <ac:chgData name="Bittner, Bodowin Silvester" userId="7336ac58-4196-4884-88d1-0dfe9a9e63cc" providerId="ADAL" clId="{EF851D9D-8985-41D7-9F7A-DB5DF06E4443}" dt="2024-04-12T09:18:12.630" v="2891"/>
          <ac:grpSpMkLst>
            <pc:docMk/>
            <pc:sldMk cId="1760102235" sldId="271"/>
            <ac:grpSpMk id="29" creationId="{C0516145-5E73-2ECE-FD8F-9E805EB061D3}"/>
          </ac:grpSpMkLst>
        </pc:grpChg>
        <pc:grpChg chg="add del mod">
          <ac:chgData name="Bittner, Bodowin Silvester" userId="7336ac58-4196-4884-88d1-0dfe9a9e63cc" providerId="ADAL" clId="{EF851D9D-8985-41D7-9F7A-DB5DF06E4443}" dt="2024-04-11T22:32:19.170" v="151" actId="478"/>
          <ac:grpSpMkLst>
            <pc:docMk/>
            <pc:sldMk cId="1760102235" sldId="271"/>
            <ac:grpSpMk id="34" creationId="{97EA64A7-FA03-C2C4-5C29-1B383FFEBF3E}"/>
          </ac:grpSpMkLst>
        </pc:grpChg>
        <pc:grpChg chg="add del mod ord">
          <ac:chgData name="Bittner, Bodowin Silvester" userId="7336ac58-4196-4884-88d1-0dfe9a9e63cc" providerId="ADAL" clId="{EF851D9D-8985-41D7-9F7A-DB5DF06E4443}" dt="2024-04-12T09:18:34.169" v="2913" actId="478"/>
          <ac:grpSpMkLst>
            <pc:docMk/>
            <pc:sldMk cId="1760102235" sldId="271"/>
            <ac:grpSpMk id="37" creationId="{62F556B7-D51A-D2DB-908D-22D3FA81954A}"/>
          </ac:grpSpMkLst>
        </pc:grpChg>
        <pc:graphicFrameChg chg="add mod ord modVis replST">
          <ac:chgData name="Bittner, Bodowin Silvester" userId="7336ac58-4196-4884-88d1-0dfe9a9e63cc" providerId="ADAL" clId="{EF851D9D-8985-41D7-9F7A-DB5DF06E4443}" dt="2024-04-12T09:18:12.645" v="2907"/>
          <ac:graphicFrameMkLst>
            <pc:docMk/>
            <pc:sldMk cId="1760102235" sldId="271"/>
            <ac:graphicFrameMk id="6" creationId="{E98C0263-4F09-3D55-A44A-AB1D0D1197B2}"/>
          </ac:graphicFrameMkLst>
        </pc:graphicFrameChg>
        <pc:picChg chg="mod">
          <ac:chgData name="Bittner, Bodowin Silvester" userId="7336ac58-4196-4884-88d1-0dfe9a9e63cc" providerId="ADAL" clId="{EF851D9D-8985-41D7-9F7A-DB5DF06E4443}" dt="2024-04-11T22:30:09.602" v="34" actId="1076"/>
          <ac:picMkLst>
            <pc:docMk/>
            <pc:sldMk cId="1760102235" sldId="271"/>
            <ac:picMk id="28" creationId="{C0F02506-AF57-0776-4517-041CCB617EEF}"/>
          </ac:picMkLst>
        </pc:picChg>
        <pc:picChg chg="mod">
          <ac:chgData name="Bittner, Bodowin Silvester" userId="7336ac58-4196-4884-88d1-0dfe9a9e63cc" providerId="ADAL" clId="{EF851D9D-8985-41D7-9F7A-DB5DF06E4443}" dt="2024-04-11T22:32:24.659" v="152" actId="1076"/>
          <ac:picMkLst>
            <pc:docMk/>
            <pc:sldMk cId="1760102235" sldId="271"/>
            <ac:picMk id="31" creationId="{C4D5DEB2-2FEE-B3CD-6158-A114946943F8}"/>
          </ac:picMkLst>
        </pc:picChg>
        <pc:picChg chg="mod">
          <ac:chgData name="Bittner, Bodowin Silvester" userId="7336ac58-4196-4884-88d1-0dfe9a9e63cc" providerId="ADAL" clId="{EF851D9D-8985-41D7-9F7A-DB5DF06E4443}" dt="2024-04-11T22:30:09.602" v="34" actId="1076"/>
          <ac:picMkLst>
            <pc:docMk/>
            <pc:sldMk cId="1760102235" sldId="271"/>
            <ac:picMk id="36" creationId="{AE8302F9-89D2-D942-3A9B-511A8597B235}"/>
          </ac:picMkLst>
        </pc:picChg>
        <pc:picChg chg="del mod topLvl">
          <ac:chgData name="Bittner, Bodowin Silvester" userId="7336ac58-4196-4884-88d1-0dfe9a9e63cc" providerId="ADAL" clId="{EF851D9D-8985-41D7-9F7A-DB5DF06E4443}" dt="2024-04-12T09:18:34.169" v="2913" actId="478"/>
          <ac:picMkLst>
            <pc:docMk/>
            <pc:sldMk cId="1760102235" sldId="271"/>
            <ac:picMk id="39" creationId="{51E376AB-6D43-9746-44D8-D97D3FBFE3A3}"/>
          </ac:picMkLst>
        </pc:picChg>
        <pc:picChg chg="add del mod ord">
          <ac:chgData name="Bittner, Bodowin Silvester" userId="7336ac58-4196-4884-88d1-0dfe9a9e63cc" providerId="ADAL" clId="{EF851D9D-8985-41D7-9F7A-DB5DF06E4443}" dt="2024-04-12T09:18:26.806" v="2910" actId="478"/>
          <ac:picMkLst>
            <pc:docMk/>
            <pc:sldMk cId="1760102235" sldId="271"/>
            <ac:picMk id="40" creationId="{128FAE8E-E81E-5A97-8D70-0CE79E58CA01}"/>
          </ac:picMkLst>
        </pc:picChg>
        <pc:picChg chg="add del mod ord">
          <ac:chgData name="Bittner, Bodowin Silvester" userId="7336ac58-4196-4884-88d1-0dfe9a9e63cc" providerId="ADAL" clId="{EF851D9D-8985-41D7-9F7A-DB5DF06E4443}" dt="2024-04-12T09:18:24.308" v="2909" actId="478"/>
          <ac:picMkLst>
            <pc:docMk/>
            <pc:sldMk cId="1760102235" sldId="271"/>
            <ac:picMk id="41" creationId="{BFC849A8-6526-0991-9685-9ED61EB8EEBF}"/>
          </ac:picMkLst>
        </pc:picChg>
        <pc:picChg chg="add mod">
          <ac:chgData name="Bittner, Bodowin Silvester" userId="7336ac58-4196-4884-88d1-0dfe9a9e63cc" providerId="ADAL" clId="{EF851D9D-8985-41D7-9F7A-DB5DF06E4443}" dt="2024-04-12T09:19:48.077" v="2921" actId="1076"/>
          <ac:picMkLst>
            <pc:docMk/>
            <pc:sldMk cId="1760102235" sldId="271"/>
            <ac:picMk id="44" creationId="{5BD2A135-5F1A-65AD-4DB4-2A3BF4980067}"/>
          </ac:picMkLst>
        </pc:picChg>
        <pc:picChg chg="add mod">
          <ac:chgData name="Bittner, Bodowin Silvester" userId="7336ac58-4196-4884-88d1-0dfe9a9e63cc" providerId="ADAL" clId="{EF851D9D-8985-41D7-9F7A-DB5DF06E4443}" dt="2024-04-12T09:20:06.607" v="2926" actId="14100"/>
          <ac:picMkLst>
            <pc:docMk/>
            <pc:sldMk cId="1760102235" sldId="271"/>
            <ac:picMk id="46" creationId="{11F9101B-D246-B8A2-11CA-F54F79C842B7}"/>
          </ac:picMkLst>
        </pc:picChg>
        <pc:picChg chg="add mod">
          <ac:chgData name="Bittner, Bodowin Silvester" userId="7336ac58-4196-4884-88d1-0dfe9a9e63cc" providerId="ADAL" clId="{EF851D9D-8985-41D7-9F7A-DB5DF06E4443}" dt="2024-04-12T09:19:59.907" v="2924" actId="1076"/>
          <ac:picMkLst>
            <pc:docMk/>
            <pc:sldMk cId="1760102235" sldId="271"/>
            <ac:picMk id="48" creationId="{B1DAD8F4-A60C-FAB9-E02A-B15D82DA6DC9}"/>
          </ac:picMkLst>
        </pc:picChg>
        <pc:cxnChg chg="add del mod">
          <ac:chgData name="Bittner, Bodowin Silvester" userId="7336ac58-4196-4884-88d1-0dfe9a9e63cc" providerId="ADAL" clId="{EF851D9D-8985-41D7-9F7A-DB5DF06E4443}" dt="2024-04-11T22:30:18.157" v="36" actId="478"/>
          <ac:cxnSpMkLst>
            <pc:docMk/>
            <pc:sldMk cId="1760102235" sldId="271"/>
            <ac:cxnSpMk id="20" creationId="{0054CF2D-A53B-A82A-7A12-C5B0BF26CC0F}"/>
          </ac:cxnSpMkLst>
        </pc:cxnChg>
        <pc:cxnChg chg="add del mod">
          <ac:chgData name="Bittner, Bodowin Silvester" userId="7336ac58-4196-4884-88d1-0dfe9a9e63cc" providerId="ADAL" clId="{EF851D9D-8985-41D7-9F7A-DB5DF06E4443}" dt="2024-04-11T22:32:19.170" v="151" actId="478"/>
          <ac:cxnSpMkLst>
            <pc:docMk/>
            <pc:sldMk cId="1760102235" sldId="271"/>
            <ac:cxnSpMk id="21" creationId="{321BB7F2-5C5F-667F-FB26-5E6BA9DA0C06}"/>
          </ac:cxnSpMkLst>
        </pc:cxnChg>
        <pc:cxnChg chg="add mod ord">
          <ac:chgData name="Bittner, Bodowin Silvester" userId="7336ac58-4196-4884-88d1-0dfe9a9e63cc" providerId="ADAL" clId="{EF851D9D-8985-41D7-9F7A-DB5DF06E4443}" dt="2024-04-12T09:18:12.623" v="2883"/>
          <ac:cxnSpMkLst>
            <pc:docMk/>
            <pc:sldMk cId="1760102235" sldId="271"/>
            <ac:cxnSpMk id="22" creationId="{10A05342-DCE1-051D-5F25-89A2E4963C4E}"/>
          </ac:cxnSpMkLst>
        </pc:cxnChg>
        <pc:cxnChg chg="add mod ord">
          <ac:chgData name="Bittner, Bodowin Silvester" userId="7336ac58-4196-4884-88d1-0dfe9a9e63cc" providerId="ADAL" clId="{EF851D9D-8985-41D7-9F7A-DB5DF06E4443}" dt="2024-04-12T09:18:12.625" v="2885"/>
          <ac:cxnSpMkLst>
            <pc:docMk/>
            <pc:sldMk cId="1760102235" sldId="271"/>
            <ac:cxnSpMk id="23" creationId="{16D741CE-619E-4FEB-FF88-682230855AE6}"/>
          </ac:cxnSpMkLst>
        </pc:cxnChg>
        <pc:cxnChg chg="add mod ord">
          <ac:chgData name="Bittner, Bodowin Silvester" userId="7336ac58-4196-4884-88d1-0dfe9a9e63cc" providerId="ADAL" clId="{EF851D9D-8985-41D7-9F7A-DB5DF06E4443}" dt="2024-04-12T09:18:12.626" v="2887"/>
          <ac:cxnSpMkLst>
            <pc:docMk/>
            <pc:sldMk cId="1760102235" sldId="271"/>
            <ac:cxnSpMk id="24" creationId="{B896755B-FC8A-09D7-FC35-2C5555E2AD0B}"/>
          </ac:cxnSpMkLst>
        </pc:cxnChg>
        <pc:cxnChg chg="add mod ord">
          <ac:chgData name="Bittner, Bodowin Silvester" userId="7336ac58-4196-4884-88d1-0dfe9a9e63cc" providerId="ADAL" clId="{EF851D9D-8985-41D7-9F7A-DB5DF06E4443}" dt="2024-04-12T09:18:12.627" v="2889"/>
          <ac:cxnSpMkLst>
            <pc:docMk/>
            <pc:sldMk cId="1760102235" sldId="271"/>
            <ac:cxnSpMk id="25" creationId="{92625FAC-3327-972A-C53D-F7FCE7CEE429}"/>
          </ac:cxnSpMkLst>
        </pc:cxnChg>
      </pc:sldChg>
      <pc:sldChg chg="addSp delSp modSp new mod ord">
        <pc:chgData name="Bittner, Bodowin Silvester" userId="7336ac58-4196-4884-88d1-0dfe9a9e63cc" providerId="ADAL" clId="{EF851D9D-8985-41D7-9F7A-DB5DF06E4443}" dt="2024-04-12T09:17:44.577" v="2689"/>
        <pc:sldMkLst>
          <pc:docMk/>
          <pc:sldMk cId="2523656948" sldId="272"/>
        </pc:sldMkLst>
        <pc:spChg chg="mod">
          <ac:chgData name="Bittner, Bodowin Silvester" userId="7336ac58-4196-4884-88d1-0dfe9a9e63cc" providerId="ADAL" clId="{EF851D9D-8985-41D7-9F7A-DB5DF06E4443}" dt="2024-04-12T09:17:44.514" v="2663" actId="948"/>
          <ac:spMkLst>
            <pc:docMk/>
            <pc:sldMk cId="2523656948" sldId="272"/>
            <ac:spMk id="2" creationId="{BADC06E3-090D-1EFE-858E-F438A81CD70A}"/>
          </ac:spMkLst>
        </pc:spChg>
        <pc:spChg chg="del">
          <ac:chgData name="Bittner, Bodowin Silvester" userId="7336ac58-4196-4884-88d1-0dfe9a9e63cc" providerId="ADAL" clId="{EF851D9D-8985-41D7-9F7A-DB5DF06E4443}" dt="2024-04-11T22:34:08.275" v="199" actId="478"/>
          <ac:spMkLst>
            <pc:docMk/>
            <pc:sldMk cId="2523656948" sldId="272"/>
            <ac:spMk id="3" creationId="{FDD2B56C-23E5-AE22-E9E3-F21432AB9782}"/>
          </ac:spMkLst>
        </pc:spChg>
        <pc:spChg chg="mod">
          <ac:chgData name="Bittner, Bodowin Silvester" userId="7336ac58-4196-4884-88d1-0dfe9a9e63cc" providerId="ADAL" clId="{EF851D9D-8985-41D7-9F7A-DB5DF06E4443}" dt="2024-04-12T09:02:44.970" v="1637" actId="165"/>
          <ac:spMkLst>
            <pc:docMk/>
            <pc:sldMk cId="2523656948" sldId="272"/>
            <ac:spMk id="8" creationId="{D7AE048F-F755-E1A6-8D7A-18FAAF9EEC0F}"/>
          </ac:spMkLst>
        </pc:spChg>
        <pc:spChg chg="mod">
          <ac:chgData name="Bittner, Bodowin Silvester" userId="7336ac58-4196-4884-88d1-0dfe9a9e63cc" providerId="ADAL" clId="{EF851D9D-8985-41D7-9F7A-DB5DF06E4443}" dt="2024-04-12T09:02:44.970" v="1637" actId="165"/>
          <ac:spMkLst>
            <pc:docMk/>
            <pc:sldMk cId="2523656948" sldId="272"/>
            <ac:spMk id="10" creationId="{F8FA4C5C-55CC-D022-5CCC-D66EB2BF1622}"/>
          </ac:spMkLst>
        </pc:spChg>
        <pc:spChg chg="mod topLvl">
          <ac:chgData name="Bittner, Bodowin Silvester" userId="7336ac58-4196-4884-88d1-0dfe9a9e63cc" providerId="ADAL" clId="{EF851D9D-8985-41D7-9F7A-DB5DF06E4443}" dt="2024-04-12T09:07:12.702" v="1777" actId="14100"/>
          <ac:spMkLst>
            <pc:docMk/>
            <pc:sldMk cId="2523656948" sldId="272"/>
            <ac:spMk id="13" creationId="{AE4D2D22-0A2C-8C05-1733-80A6521DD06D}"/>
          </ac:spMkLst>
        </pc:spChg>
        <pc:spChg chg="mod topLvl">
          <ac:chgData name="Bittner, Bodowin Silvester" userId="7336ac58-4196-4884-88d1-0dfe9a9e63cc" providerId="ADAL" clId="{EF851D9D-8985-41D7-9F7A-DB5DF06E4443}" dt="2024-04-12T09:07:07.147" v="1776" actId="1076"/>
          <ac:spMkLst>
            <pc:docMk/>
            <pc:sldMk cId="2523656948" sldId="272"/>
            <ac:spMk id="15" creationId="{62455E5A-1AE2-21D4-3F89-D96EB6203E2D}"/>
          </ac:spMkLst>
        </pc:spChg>
        <pc:spChg chg="add del mod topLvl">
          <ac:chgData name="Bittner, Bodowin Silvester" userId="7336ac58-4196-4884-88d1-0dfe9a9e63cc" providerId="ADAL" clId="{EF851D9D-8985-41D7-9F7A-DB5DF06E4443}" dt="2024-04-12T09:04:27.898" v="1681" actId="1076"/>
          <ac:spMkLst>
            <pc:docMk/>
            <pc:sldMk cId="2523656948" sldId="272"/>
            <ac:spMk id="17" creationId="{BB194940-CAFE-F493-6C20-7C815E1863F2}"/>
          </ac:spMkLst>
        </pc:spChg>
        <pc:spChg chg="add del mod topLvl">
          <ac:chgData name="Bittner, Bodowin Silvester" userId="7336ac58-4196-4884-88d1-0dfe9a9e63cc" providerId="ADAL" clId="{EF851D9D-8985-41D7-9F7A-DB5DF06E4443}" dt="2024-04-12T09:03:36.671" v="1654" actId="478"/>
          <ac:spMkLst>
            <pc:docMk/>
            <pc:sldMk cId="2523656948" sldId="272"/>
            <ac:spMk id="18" creationId="{031AE19E-ABD8-3978-CB57-F7AA44515487}"/>
          </ac:spMkLst>
        </pc:spChg>
        <pc:spChg chg="mod topLvl">
          <ac:chgData name="Bittner, Bodowin Silvester" userId="7336ac58-4196-4884-88d1-0dfe9a9e63cc" providerId="ADAL" clId="{EF851D9D-8985-41D7-9F7A-DB5DF06E4443}" dt="2024-04-12T09:07:12.702" v="1777" actId="14100"/>
          <ac:spMkLst>
            <pc:docMk/>
            <pc:sldMk cId="2523656948" sldId="272"/>
            <ac:spMk id="22" creationId="{A4594878-8BDC-4FB8-8BAA-BE310792415F}"/>
          </ac:spMkLst>
        </pc:spChg>
        <pc:spChg chg="mod topLvl">
          <ac:chgData name="Bittner, Bodowin Silvester" userId="7336ac58-4196-4884-88d1-0dfe9a9e63cc" providerId="ADAL" clId="{EF851D9D-8985-41D7-9F7A-DB5DF06E4443}" dt="2024-04-12T09:07:07.147" v="1776" actId="1076"/>
          <ac:spMkLst>
            <pc:docMk/>
            <pc:sldMk cId="2523656948" sldId="272"/>
            <ac:spMk id="23" creationId="{AE918811-AEDC-07C8-DBC3-39C9BB2DC327}"/>
          </ac:spMkLst>
        </pc:spChg>
        <pc:spChg chg="add mod">
          <ac:chgData name="Bittner, Bodowin Silvester" userId="7336ac58-4196-4884-88d1-0dfe9a9e63cc" providerId="ADAL" clId="{EF851D9D-8985-41D7-9F7A-DB5DF06E4443}" dt="2024-04-12T09:04:41.305" v="1683" actId="1076"/>
          <ac:spMkLst>
            <pc:docMk/>
            <pc:sldMk cId="2523656948" sldId="272"/>
            <ac:spMk id="25" creationId="{6939671F-A64B-887A-D8DB-098F4BF2FA65}"/>
          </ac:spMkLst>
        </pc:spChg>
        <pc:spChg chg="mod topLvl">
          <ac:chgData name="Bittner, Bodowin Silvester" userId="7336ac58-4196-4884-88d1-0dfe9a9e63cc" providerId="ADAL" clId="{EF851D9D-8985-41D7-9F7A-DB5DF06E4443}" dt="2024-04-12T09:07:12.702" v="1777" actId="14100"/>
          <ac:spMkLst>
            <pc:docMk/>
            <pc:sldMk cId="2523656948" sldId="272"/>
            <ac:spMk id="27" creationId="{6353873F-850E-F051-0C01-452E3F554244}"/>
          </ac:spMkLst>
        </pc:spChg>
        <pc:spChg chg="mod topLvl">
          <ac:chgData name="Bittner, Bodowin Silvester" userId="7336ac58-4196-4884-88d1-0dfe9a9e63cc" providerId="ADAL" clId="{EF851D9D-8985-41D7-9F7A-DB5DF06E4443}" dt="2024-04-12T09:07:07.147" v="1776" actId="1076"/>
          <ac:spMkLst>
            <pc:docMk/>
            <pc:sldMk cId="2523656948" sldId="272"/>
            <ac:spMk id="28" creationId="{BD91D1FD-3875-9C2A-F4C4-1E9AF708468D}"/>
          </ac:spMkLst>
        </pc:spChg>
        <pc:spChg chg="mod topLvl">
          <ac:chgData name="Bittner, Bodowin Silvester" userId="7336ac58-4196-4884-88d1-0dfe9a9e63cc" providerId="ADAL" clId="{EF851D9D-8985-41D7-9F7A-DB5DF06E4443}" dt="2024-04-12T09:07:16.033" v="1778" actId="1076"/>
          <ac:spMkLst>
            <pc:docMk/>
            <pc:sldMk cId="2523656948" sldId="272"/>
            <ac:spMk id="33" creationId="{BD8E867C-1880-1EDA-4440-D2658847659B}"/>
          </ac:spMkLst>
        </pc:spChg>
        <pc:spChg chg="mod topLvl">
          <ac:chgData name="Bittner, Bodowin Silvester" userId="7336ac58-4196-4884-88d1-0dfe9a9e63cc" providerId="ADAL" clId="{EF851D9D-8985-41D7-9F7A-DB5DF06E4443}" dt="2024-04-12T09:07:16.033" v="1778" actId="1076"/>
          <ac:spMkLst>
            <pc:docMk/>
            <pc:sldMk cId="2523656948" sldId="272"/>
            <ac:spMk id="34" creationId="{93D372CC-D6F6-B1F8-2A8C-A3C3BBCEEAB4}"/>
          </ac:spMkLst>
        </pc:spChg>
        <pc:spChg chg="mod topLvl">
          <ac:chgData name="Bittner, Bodowin Silvester" userId="7336ac58-4196-4884-88d1-0dfe9a9e63cc" providerId="ADAL" clId="{EF851D9D-8985-41D7-9F7A-DB5DF06E4443}" dt="2024-04-12T09:07:16.033" v="1778" actId="1076"/>
          <ac:spMkLst>
            <pc:docMk/>
            <pc:sldMk cId="2523656948" sldId="272"/>
            <ac:spMk id="35" creationId="{33E37E9E-711F-BA0A-3D41-73186CCB5B44}"/>
          </ac:spMkLst>
        </pc:spChg>
        <pc:spChg chg="mod">
          <ac:chgData name="Bittner, Bodowin Silvester" userId="7336ac58-4196-4884-88d1-0dfe9a9e63cc" providerId="ADAL" clId="{EF851D9D-8985-41D7-9F7A-DB5DF06E4443}" dt="2024-04-12T09:07:19.260" v="1779" actId="1076"/>
          <ac:spMkLst>
            <pc:docMk/>
            <pc:sldMk cId="2523656948" sldId="272"/>
            <ac:spMk id="38" creationId="{3E61C409-051D-37A6-B2BF-8051367EBF47}"/>
          </ac:spMkLst>
        </pc:spChg>
        <pc:spChg chg="mod">
          <ac:chgData name="Bittner, Bodowin Silvester" userId="7336ac58-4196-4884-88d1-0dfe9a9e63cc" providerId="ADAL" clId="{EF851D9D-8985-41D7-9F7A-DB5DF06E4443}" dt="2024-04-12T09:07:45.440" v="1817" actId="20577"/>
          <ac:spMkLst>
            <pc:docMk/>
            <pc:sldMk cId="2523656948" sldId="272"/>
            <ac:spMk id="39" creationId="{7D130281-62AA-9813-EDCD-099568479D1F}"/>
          </ac:spMkLst>
        </pc:spChg>
        <pc:spChg chg="mod">
          <ac:chgData name="Bittner, Bodowin Silvester" userId="7336ac58-4196-4884-88d1-0dfe9a9e63cc" providerId="ADAL" clId="{EF851D9D-8985-41D7-9F7A-DB5DF06E4443}" dt="2024-04-12T09:07:19.260" v="1779" actId="1076"/>
          <ac:spMkLst>
            <pc:docMk/>
            <pc:sldMk cId="2523656948" sldId="272"/>
            <ac:spMk id="40" creationId="{0F1D2489-98C2-AE7B-0D90-3BCF7C8DDB5A}"/>
          </ac:spMkLst>
        </pc:spChg>
        <pc:spChg chg="mod">
          <ac:chgData name="Bittner, Bodowin Silvester" userId="7336ac58-4196-4884-88d1-0dfe9a9e63cc" providerId="ADAL" clId="{EF851D9D-8985-41D7-9F7A-DB5DF06E4443}" dt="2024-04-12T09:07:22.579" v="1780" actId="1076"/>
          <ac:spMkLst>
            <pc:docMk/>
            <pc:sldMk cId="2523656948" sldId="272"/>
            <ac:spMk id="43" creationId="{07853A32-43F5-3C57-D89E-E27620A172BD}"/>
          </ac:spMkLst>
        </pc:spChg>
        <pc:spChg chg="mod">
          <ac:chgData name="Bittner, Bodowin Silvester" userId="7336ac58-4196-4884-88d1-0dfe9a9e63cc" providerId="ADAL" clId="{EF851D9D-8985-41D7-9F7A-DB5DF06E4443}" dt="2024-04-12T09:08:01.882" v="1856" actId="20577"/>
          <ac:spMkLst>
            <pc:docMk/>
            <pc:sldMk cId="2523656948" sldId="272"/>
            <ac:spMk id="44" creationId="{C9C2211C-305F-3681-FEEB-A2A0EDB649D7}"/>
          </ac:spMkLst>
        </pc:spChg>
        <pc:spChg chg="mod">
          <ac:chgData name="Bittner, Bodowin Silvester" userId="7336ac58-4196-4884-88d1-0dfe9a9e63cc" providerId="ADAL" clId="{EF851D9D-8985-41D7-9F7A-DB5DF06E4443}" dt="2024-04-12T09:07:22.579" v="1780" actId="1076"/>
          <ac:spMkLst>
            <pc:docMk/>
            <pc:sldMk cId="2523656948" sldId="272"/>
            <ac:spMk id="45" creationId="{932A05C0-92C8-BFCB-7CA9-DA18819DC9D2}"/>
          </ac:spMkLst>
        </pc:spChg>
        <pc:spChg chg="add del mod modVis">
          <ac:chgData name="Bittner, Bodowin Silvester" userId="7336ac58-4196-4884-88d1-0dfe9a9e63cc" providerId="ADAL" clId="{EF851D9D-8985-41D7-9F7A-DB5DF06E4443}" dt="2024-04-12T09:17:44.572" v="2687"/>
          <ac:spMkLst>
            <pc:docMk/>
            <pc:sldMk cId="2523656948" sldId="272"/>
            <ac:spMk id="47" creationId="{2A313A26-9D69-5FCC-228B-59E7332B0B9B}"/>
          </ac:spMkLst>
        </pc:spChg>
        <pc:grpChg chg="add del mod topLvl">
          <ac:chgData name="Bittner, Bodowin Silvester" userId="7336ac58-4196-4884-88d1-0dfe9a9e63cc" providerId="ADAL" clId="{EF851D9D-8985-41D7-9F7A-DB5DF06E4443}" dt="2024-04-12T09:03:55.474" v="1659" actId="478"/>
          <ac:grpSpMkLst>
            <pc:docMk/>
            <pc:sldMk cId="2523656948" sldId="272"/>
            <ac:grpSpMk id="7" creationId="{E3340EC7-7EC0-E786-D6BD-85FB947869EE}"/>
          </ac:grpSpMkLst>
        </pc:grpChg>
        <pc:grpChg chg="mod">
          <ac:chgData name="Bittner, Bodowin Silvester" userId="7336ac58-4196-4884-88d1-0dfe9a9e63cc" providerId="ADAL" clId="{EF851D9D-8985-41D7-9F7A-DB5DF06E4443}" dt="2024-04-12T09:02:44.970" v="1637" actId="165"/>
          <ac:grpSpMkLst>
            <pc:docMk/>
            <pc:sldMk cId="2523656948" sldId="272"/>
            <ac:grpSpMk id="9" creationId="{A85E2259-AFC7-9BE9-560A-9DBBA2181FA0}"/>
          </ac:grpSpMkLst>
        </pc:grpChg>
        <pc:grpChg chg="add del mod topLvl">
          <ac:chgData name="Bittner, Bodowin Silvester" userId="7336ac58-4196-4884-88d1-0dfe9a9e63cc" providerId="ADAL" clId="{EF851D9D-8985-41D7-9F7A-DB5DF06E4443}" dt="2024-04-12T09:03:02.872" v="1639" actId="165"/>
          <ac:grpSpMkLst>
            <pc:docMk/>
            <pc:sldMk cId="2523656948" sldId="272"/>
            <ac:grpSpMk id="12" creationId="{C1CC4C24-FA01-FD3B-6999-2FEC7DAA12B0}"/>
          </ac:grpSpMkLst>
        </pc:grpChg>
        <pc:grpChg chg="del mod topLvl">
          <ac:chgData name="Bittner, Bodowin Silvester" userId="7336ac58-4196-4884-88d1-0dfe9a9e63cc" providerId="ADAL" clId="{EF851D9D-8985-41D7-9F7A-DB5DF06E4443}" dt="2024-04-12T09:03:03.354" v="1640" actId="165"/>
          <ac:grpSpMkLst>
            <pc:docMk/>
            <pc:sldMk cId="2523656948" sldId="272"/>
            <ac:grpSpMk id="14" creationId="{CAD83236-EC9B-C890-DD6D-B456E96150E3}"/>
          </ac:grpSpMkLst>
        </pc:grpChg>
        <pc:grpChg chg="add del mod">
          <ac:chgData name="Bittner, Bodowin Silvester" userId="7336ac58-4196-4884-88d1-0dfe9a9e63cc" providerId="ADAL" clId="{EF851D9D-8985-41D7-9F7A-DB5DF06E4443}" dt="2024-04-12T09:02:44.970" v="1637" actId="165"/>
          <ac:grpSpMkLst>
            <pc:docMk/>
            <pc:sldMk cId="2523656948" sldId="272"/>
            <ac:grpSpMk id="19" creationId="{71255132-EB54-56C7-DA68-1F9157217421}"/>
          </ac:grpSpMkLst>
        </pc:grpChg>
        <pc:grpChg chg="add del mod">
          <ac:chgData name="Bittner, Bodowin Silvester" userId="7336ac58-4196-4884-88d1-0dfe9a9e63cc" providerId="ADAL" clId="{EF851D9D-8985-41D7-9F7A-DB5DF06E4443}" dt="2024-04-12T09:07:00.676" v="1775" actId="165"/>
          <ac:grpSpMkLst>
            <pc:docMk/>
            <pc:sldMk cId="2523656948" sldId="272"/>
            <ac:grpSpMk id="20" creationId="{E28D6917-90CD-D1EF-4E89-F8E77D4B9307}"/>
          </ac:grpSpMkLst>
        </pc:grpChg>
        <pc:grpChg chg="add del mod">
          <ac:chgData name="Bittner, Bodowin Silvester" userId="7336ac58-4196-4884-88d1-0dfe9a9e63cc" providerId="ADAL" clId="{EF851D9D-8985-41D7-9F7A-DB5DF06E4443}" dt="2024-04-12T09:07:00.676" v="1775" actId="165"/>
          <ac:grpSpMkLst>
            <pc:docMk/>
            <pc:sldMk cId="2523656948" sldId="272"/>
            <ac:grpSpMk id="21" creationId="{BB36DE04-EB09-6665-EEB2-54294FC6EE4D}"/>
          </ac:grpSpMkLst>
        </pc:grpChg>
        <pc:grpChg chg="add del mod">
          <ac:chgData name="Bittner, Bodowin Silvester" userId="7336ac58-4196-4884-88d1-0dfe9a9e63cc" providerId="ADAL" clId="{EF851D9D-8985-41D7-9F7A-DB5DF06E4443}" dt="2024-04-12T09:07:00.676" v="1775" actId="165"/>
          <ac:grpSpMkLst>
            <pc:docMk/>
            <pc:sldMk cId="2523656948" sldId="272"/>
            <ac:grpSpMk id="26" creationId="{6C84A959-5B4F-0584-92AE-12DBF0BD4939}"/>
          </ac:grpSpMkLst>
        </pc:grpChg>
        <pc:grpChg chg="add del mod">
          <ac:chgData name="Bittner, Bodowin Silvester" userId="7336ac58-4196-4884-88d1-0dfe9a9e63cc" providerId="ADAL" clId="{EF851D9D-8985-41D7-9F7A-DB5DF06E4443}" dt="2024-04-12T09:06:26.636" v="1767" actId="165"/>
          <ac:grpSpMkLst>
            <pc:docMk/>
            <pc:sldMk cId="2523656948" sldId="272"/>
            <ac:grpSpMk id="30" creationId="{8B91F3AB-DB90-6D90-B10F-8C41F379D685}"/>
          </ac:grpSpMkLst>
        </pc:grpChg>
        <pc:grpChg chg="del mod topLvl">
          <ac:chgData name="Bittner, Bodowin Silvester" userId="7336ac58-4196-4884-88d1-0dfe9a9e63cc" providerId="ADAL" clId="{EF851D9D-8985-41D7-9F7A-DB5DF06E4443}" dt="2024-04-12T09:06:30.715" v="1768" actId="165"/>
          <ac:grpSpMkLst>
            <pc:docMk/>
            <pc:sldMk cId="2523656948" sldId="272"/>
            <ac:grpSpMk id="31" creationId="{C5FF1498-2E62-9943-B93B-8EC6B5E1DD84}"/>
          </ac:grpSpMkLst>
        </pc:grpChg>
        <pc:grpChg chg="add mod">
          <ac:chgData name="Bittner, Bodowin Silvester" userId="7336ac58-4196-4884-88d1-0dfe9a9e63cc" providerId="ADAL" clId="{EF851D9D-8985-41D7-9F7A-DB5DF06E4443}" dt="2024-04-12T09:07:16.033" v="1778" actId="1076"/>
          <ac:grpSpMkLst>
            <pc:docMk/>
            <pc:sldMk cId="2523656948" sldId="272"/>
            <ac:grpSpMk id="36" creationId="{03B8D7EB-6890-543D-BAFC-6FE3DAB4E875}"/>
          </ac:grpSpMkLst>
        </pc:grpChg>
        <pc:grpChg chg="add mod">
          <ac:chgData name="Bittner, Bodowin Silvester" userId="7336ac58-4196-4884-88d1-0dfe9a9e63cc" providerId="ADAL" clId="{EF851D9D-8985-41D7-9F7A-DB5DF06E4443}" dt="2024-04-12T09:07:19.260" v="1779" actId="1076"/>
          <ac:grpSpMkLst>
            <pc:docMk/>
            <pc:sldMk cId="2523656948" sldId="272"/>
            <ac:grpSpMk id="37" creationId="{578F5DEF-1B11-B145-295B-7DAF6729C119}"/>
          </ac:grpSpMkLst>
        </pc:grpChg>
        <pc:grpChg chg="add mod">
          <ac:chgData name="Bittner, Bodowin Silvester" userId="7336ac58-4196-4884-88d1-0dfe9a9e63cc" providerId="ADAL" clId="{EF851D9D-8985-41D7-9F7A-DB5DF06E4443}" dt="2024-04-12T09:07:22.579" v="1780" actId="1076"/>
          <ac:grpSpMkLst>
            <pc:docMk/>
            <pc:sldMk cId="2523656948" sldId="272"/>
            <ac:grpSpMk id="42" creationId="{55A11502-C8F9-E479-F17E-B8C85EBB0C63}"/>
          </ac:grpSpMkLst>
        </pc:grpChg>
        <pc:graphicFrameChg chg="add mod ord modVis replST">
          <ac:chgData name="Bittner, Bodowin Silvester" userId="7336ac58-4196-4884-88d1-0dfe9a9e63cc" providerId="ADAL" clId="{EF851D9D-8985-41D7-9F7A-DB5DF06E4443}" dt="2024-04-12T09:17:44.577" v="2689"/>
          <ac:graphicFrameMkLst>
            <pc:docMk/>
            <pc:sldMk cId="2523656948" sldId="272"/>
            <ac:graphicFrameMk id="6" creationId="{62D3BF9C-31DC-5CEC-E446-DD13E785DBF3}"/>
          </ac:graphicFrameMkLst>
        </pc:graphicFrameChg>
        <pc:picChg chg="mod">
          <ac:chgData name="Bittner, Bodowin Silvester" userId="7336ac58-4196-4884-88d1-0dfe9a9e63cc" providerId="ADAL" clId="{EF851D9D-8985-41D7-9F7A-DB5DF06E4443}" dt="2024-04-12T09:02:44.970" v="1637" actId="165"/>
          <ac:picMkLst>
            <pc:docMk/>
            <pc:sldMk cId="2523656948" sldId="272"/>
            <ac:picMk id="11" creationId="{C6A19291-3DE7-BB9A-40DF-371C06ACD561}"/>
          </ac:picMkLst>
        </pc:picChg>
        <pc:picChg chg="mod topLvl">
          <ac:chgData name="Bittner, Bodowin Silvester" userId="7336ac58-4196-4884-88d1-0dfe9a9e63cc" providerId="ADAL" clId="{EF851D9D-8985-41D7-9F7A-DB5DF06E4443}" dt="2024-04-12T09:07:07.147" v="1776" actId="1076"/>
          <ac:picMkLst>
            <pc:docMk/>
            <pc:sldMk cId="2523656948" sldId="272"/>
            <ac:picMk id="16" creationId="{9EBFD52F-D615-3132-A282-32599F0E076E}"/>
          </ac:picMkLst>
        </pc:picChg>
        <pc:picChg chg="mod topLvl">
          <ac:chgData name="Bittner, Bodowin Silvester" userId="7336ac58-4196-4884-88d1-0dfe9a9e63cc" providerId="ADAL" clId="{EF851D9D-8985-41D7-9F7A-DB5DF06E4443}" dt="2024-04-12T09:07:07.147" v="1776" actId="1076"/>
          <ac:picMkLst>
            <pc:docMk/>
            <pc:sldMk cId="2523656948" sldId="272"/>
            <ac:picMk id="24" creationId="{2ADF35DC-E5E5-638D-45EC-670396F9C326}"/>
          </ac:picMkLst>
        </pc:picChg>
        <pc:picChg chg="mod topLvl">
          <ac:chgData name="Bittner, Bodowin Silvester" userId="7336ac58-4196-4884-88d1-0dfe9a9e63cc" providerId="ADAL" clId="{EF851D9D-8985-41D7-9F7A-DB5DF06E4443}" dt="2024-04-12T09:07:07.147" v="1776" actId="1076"/>
          <ac:picMkLst>
            <pc:docMk/>
            <pc:sldMk cId="2523656948" sldId="272"/>
            <ac:picMk id="29" creationId="{9114B558-9A6F-89FB-2282-BA0D9EB071B7}"/>
          </ac:picMkLst>
        </pc:picChg>
        <pc:picChg chg="mod topLvl">
          <ac:chgData name="Bittner, Bodowin Silvester" userId="7336ac58-4196-4884-88d1-0dfe9a9e63cc" providerId="ADAL" clId="{EF851D9D-8985-41D7-9F7A-DB5DF06E4443}" dt="2024-04-12T09:07:16.033" v="1778" actId="1076"/>
          <ac:picMkLst>
            <pc:docMk/>
            <pc:sldMk cId="2523656948" sldId="272"/>
            <ac:picMk id="32" creationId="{F8ABF8C6-9F42-506F-ADAF-7817344CCD04}"/>
          </ac:picMkLst>
        </pc:picChg>
        <pc:picChg chg="del mod">
          <ac:chgData name="Bittner, Bodowin Silvester" userId="7336ac58-4196-4884-88d1-0dfe9a9e63cc" providerId="ADAL" clId="{EF851D9D-8985-41D7-9F7A-DB5DF06E4443}" dt="2024-04-12T09:08:08.826" v="1858" actId="478"/>
          <ac:picMkLst>
            <pc:docMk/>
            <pc:sldMk cId="2523656948" sldId="272"/>
            <ac:picMk id="41" creationId="{86414B42-4EC2-01FF-5099-BAC5F5164640}"/>
          </ac:picMkLst>
        </pc:picChg>
        <pc:picChg chg="del mod">
          <ac:chgData name="Bittner, Bodowin Silvester" userId="7336ac58-4196-4884-88d1-0dfe9a9e63cc" providerId="ADAL" clId="{EF851D9D-8985-41D7-9F7A-DB5DF06E4443}" dt="2024-04-12T09:08:06.335" v="1857" actId="478"/>
          <ac:picMkLst>
            <pc:docMk/>
            <pc:sldMk cId="2523656948" sldId="272"/>
            <ac:picMk id="46" creationId="{758F2D08-E8A1-8B81-5B98-C6ED11390628}"/>
          </ac:picMkLst>
        </pc:picChg>
      </pc:sldChg>
      <pc:sldChg chg="addSp delSp modSp new mod">
        <pc:chgData name="Bittner, Bodowin Silvester" userId="7336ac58-4196-4884-88d1-0dfe9a9e63cc" providerId="ADAL" clId="{EF851D9D-8985-41D7-9F7A-DB5DF06E4443}" dt="2024-04-12T09:17:58.059" v="2825"/>
        <pc:sldMkLst>
          <pc:docMk/>
          <pc:sldMk cId="3339213618" sldId="273"/>
        </pc:sldMkLst>
        <pc:spChg chg="mod ord">
          <ac:chgData name="Bittner, Bodowin Silvester" userId="7336ac58-4196-4884-88d1-0dfe9a9e63cc" providerId="ADAL" clId="{EF851D9D-8985-41D7-9F7A-DB5DF06E4443}" dt="2024-04-12T09:17:57.990" v="2799" actId="948"/>
          <ac:spMkLst>
            <pc:docMk/>
            <pc:sldMk cId="3339213618" sldId="273"/>
            <ac:spMk id="2" creationId="{4C1BAF9D-6E9E-9429-FB70-E10C16E355E3}"/>
          </ac:spMkLst>
        </pc:spChg>
        <pc:spChg chg="del">
          <ac:chgData name="Bittner, Bodowin Silvester" userId="7336ac58-4196-4884-88d1-0dfe9a9e63cc" providerId="ADAL" clId="{EF851D9D-8985-41D7-9F7A-DB5DF06E4443}" dt="2024-04-11T22:35:38.838" v="509" actId="478"/>
          <ac:spMkLst>
            <pc:docMk/>
            <pc:sldMk cId="3339213618" sldId="273"/>
            <ac:spMk id="3" creationId="{38A423B3-F02B-A725-237E-9E387085D421}"/>
          </ac:spMkLst>
        </pc:spChg>
        <pc:spChg chg="mod ord">
          <ac:chgData name="Bittner, Bodowin Silvester" userId="7336ac58-4196-4884-88d1-0dfe9a9e63cc" providerId="ADAL" clId="{EF851D9D-8985-41D7-9F7A-DB5DF06E4443}" dt="2024-04-12T08:59:10.361" v="1591"/>
          <ac:spMkLst>
            <pc:docMk/>
            <pc:sldMk cId="3339213618" sldId="273"/>
            <ac:spMk id="4" creationId="{22BB7582-8615-9F89-E88E-2D8171874222}"/>
          </ac:spMkLst>
        </pc:spChg>
        <pc:spChg chg="mod ord">
          <ac:chgData name="Bittner, Bodowin Silvester" userId="7336ac58-4196-4884-88d1-0dfe9a9e63cc" providerId="ADAL" clId="{EF851D9D-8985-41D7-9F7A-DB5DF06E4443}" dt="2024-04-12T08:59:10.361" v="1591"/>
          <ac:spMkLst>
            <pc:docMk/>
            <pc:sldMk cId="3339213618" sldId="273"/>
            <ac:spMk id="5" creationId="{A5C3FEDE-5A22-002A-C36E-D3BCA5B9C302}"/>
          </ac:spMkLst>
        </pc:spChg>
        <pc:spChg chg="add del mod modVis">
          <ac:chgData name="Bittner, Bodowin Silvester" userId="7336ac58-4196-4884-88d1-0dfe9a9e63cc" providerId="ADAL" clId="{EF851D9D-8985-41D7-9F7A-DB5DF06E4443}" dt="2024-04-11T22:35:04.836" v="242"/>
          <ac:spMkLst>
            <pc:docMk/>
            <pc:sldMk cId="3339213618" sldId="273"/>
            <ac:spMk id="6" creationId="{05CB67B0-B53C-5838-3379-56BC85860A79}"/>
          </ac:spMkLst>
        </pc:spChg>
        <pc:spChg chg="add del mod modVis">
          <ac:chgData name="Bittner, Bodowin Silvester" userId="7336ac58-4196-4884-88d1-0dfe9a9e63cc" providerId="ADAL" clId="{EF851D9D-8985-41D7-9F7A-DB5DF06E4443}" dt="2024-04-11T22:35:06.987" v="284"/>
          <ac:spMkLst>
            <pc:docMk/>
            <pc:sldMk cId="3339213618" sldId="273"/>
            <ac:spMk id="8" creationId="{CC873444-BD7E-4C2F-7E16-6A1304A6D99B}"/>
          </ac:spMkLst>
        </pc:spChg>
        <pc:spChg chg="add del mod modVis">
          <ac:chgData name="Bittner, Bodowin Silvester" userId="7336ac58-4196-4884-88d1-0dfe9a9e63cc" providerId="ADAL" clId="{EF851D9D-8985-41D7-9F7A-DB5DF06E4443}" dt="2024-04-11T22:35:07.683" v="312"/>
          <ac:spMkLst>
            <pc:docMk/>
            <pc:sldMk cId="3339213618" sldId="273"/>
            <ac:spMk id="9" creationId="{E9967F8F-AE23-EAA6-3AB8-7D3D46AFAC66}"/>
          </ac:spMkLst>
        </pc:spChg>
        <pc:spChg chg="add del mod modVis">
          <ac:chgData name="Bittner, Bodowin Silvester" userId="7336ac58-4196-4884-88d1-0dfe9a9e63cc" providerId="ADAL" clId="{EF851D9D-8985-41D7-9F7A-DB5DF06E4443}" dt="2024-04-11T22:35:16.302" v="412"/>
          <ac:spMkLst>
            <pc:docMk/>
            <pc:sldMk cId="3339213618" sldId="273"/>
            <ac:spMk id="10" creationId="{E897EA5E-D334-F31A-7198-F517C67C3298}"/>
          </ac:spMkLst>
        </pc:spChg>
        <pc:spChg chg="add del mod modVis">
          <ac:chgData name="Bittner, Bodowin Silvester" userId="7336ac58-4196-4884-88d1-0dfe9a9e63cc" providerId="ADAL" clId="{EF851D9D-8985-41D7-9F7A-DB5DF06E4443}" dt="2024-04-11T22:35:17.569" v="440"/>
          <ac:spMkLst>
            <pc:docMk/>
            <pc:sldMk cId="3339213618" sldId="273"/>
            <ac:spMk id="11" creationId="{400034E4-948C-BFA4-0A55-40C7BC2232B0}"/>
          </ac:spMkLst>
        </pc:spChg>
        <pc:spChg chg="add del mod modVis">
          <ac:chgData name="Bittner, Bodowin Silvester" userId="7336ac58-4196-4884-88d1-0dfe9a9e63cc" providerId="ADAL" clId="{EF851D9D-8985-41D7-9F7A-DB5DF06E4443}" dt="2024-04-11T22:35:19.790" v="476"/>
          <ac:spMkLst>
            <pc:docMk/>
            <pc:sldMk cId="3339213618" sldId="273"/>
            <ac:spMk id="12" creationId="{6A0F60F6-4A08-70F2-2A96-03C8EB556ACD}"/>
          </ac:spMkLst>
        </pc:spChg>
        <pc:spChg chg="add del mod modVis">
          <ac:chgData name="Bittner, Bodowin Silvester" userId="7336ac58-4196-4884-88d1-0dfe9a9e63cc" providerId="ADAL" clId="{EF851D9D-8985-41D7-9F7A-DB5DF06E4443}" dt="2024-04-11T22:35:20.587" v="506"/>
          <ac:spMkLst>
            <pc:docMk/>
            <pc:sldMk cId="3339213618" sldId="273"/>
            <ac:spMk id="13" creationId="{282C8F85-3F2B-D99F-B0A0-128A0CE0E841}"/>
          </ac:spMkLst>
        </pc:spChg>
        <pc:spChg chg="mod">
          <ac:chgData name="Bittner, Bodowin Silvester" userId="7336ac58-4196-4884-88d1-0dfe9a9e63cc" providerId="ADAL" clId="{EF851D9D-8985-41D7-9F7A-DB5DF06E4443}" dt="2024-04-12T08:58:59.460" v="1516" actId="165"/>
          <ac:spMkLst>
            <pc:docMk/>
            <pc:sldMk cId="3339213618" sldId="273"/>
            <ac:spMk id="15" creationId="{A8A02FE2-A9AC-CDB2-C35C-4D12753C4FFC}"/>
          </ac:spMkLst>
        </pc:spChg>
        <pc:spChg chg="mod">
          <ac:chgData name="Bittner, Bodowin Silvester" userId="7336ac58-4196-4884-88d1-0dfe9a9e63cc" providerId="ADAL" clId="{EF851D9D-8985-41D7-9F7A-DB5DF06E4443}" dt="2024-04-12T08:58:59.460" v="1516" actId="165"/>
          <ac:spMkLst>
            <pc:docMk/>
            <pc:sldMk cId="3339213618" sldId="273"/>
            <ac:spMk id="16" creationId="{5E2B7CCC-45DF-5F5A-B5C9-E36ECD39D555}"/>
          </ac:spMkLst>
        </pc:spChg>
        <pc:spChg chg="mod">
          <ac:chgData name="Bittner, Bodowin Silvester" userId="7336ac58-4196-4884-88d1-0dfe9a9e63cc" providerId="ADAL" clId="{EF851D9D-8985-41D7-9F7A-DB5DF06E4443}" dt="2024-04-12T08:58:59.460" v="1516" actId="165"/>
          <ac:spMkLst>
            <pc:docMk/>
            <pc:sldMk cId="3339213618" sldId="273"/>
            <ac:spMk id="18" creationId="{BA95FC24-928F-35B8-BC41-C78A3C2C982E}"/>
          </ac:spMkLst>
        </pc:spChg>
        <pc:spChg chg="mod">
          <ac:chgData name="Bittner, Bodowin Silvester" userId="7336ac58-4196-4884-88d1-0dfe9a9e63cc" providerId="ADAL" clId="{EF851D9D-8985-41D7-9F7A-DB5DF06E4443}" dt="2024-04-12T08:58:59.460" v="1516" actId="165"/>
          <ac:spMkLst>
            <pc:docMk/>
            <pc:sldMk cId="3339213618" sldId="273"/>
            <ac:spMk id="20" creationId="{17A2F3EA-0D68-11CE-7CC9-679EB68B4630}"/>
          </ac:spMkLst>
        </pc:spChg>
        <pc:spChg chg="mod">
          <ac:chgData name="Bittner, Bodowin Silvester" userId="7336ac58-4196-4884-88d1-0dfe9a9e63cc" providerId="ADAL" clId="{EF851D9D-8985-41D7-9F7A-DB5DF06E4443}" dt="2024-04-12T08:58:59.460" v="1516" actId="165"/>
          <ac:spMkLst>
            <pc:docMk/>
            <pc:sldMk cId="3339213618" sldId="273"/>
            <ac:spMk id="21" creationId="{B8D89D20-4CA1-CD7C-DC84-D10725069D09}"/>
          </ac:spMkLst>
        </pc:spChg>
        <pc:spChg chg="mod">
          <ac:chgData name="Bittner, Bodowin Silvester" userId="7336ac58-4196-4884-88d1-0dfe9a9e63cc" providerId="ADAL" clId="{EF851D9D-8985-41D7-9F7A-DB5DF06E4443}" dt="2024-04-12T08:58:59.460" v="1516" actId="165"/>
          <ac:spMkLst>
            <pc:docMk/>
            <pc:sldMk cId="3339213618" sldId="273"/>
            <ac:spMk id="22" creationId="{F1345422-580B-C1EB-3296-7380C4CDC16F}"/>
          </ac:spMkLst>
        </pc:spChg>
        <pc:spChg chg="mod">
          <ac:chgData name="Bittner, Bodowin Silvester" userId="7336ac58-4196-4884-88d1-0dfe9a9e63cc" providerId="ADAL" clId="{EF851D9D-8985-41D7-9F7A-DB5DF06E4443}" dt="2024-04-12T08:58:59.460" v="1516" actId="165"/>
          <ac:spMkLst>
            <pc:docMk/>
            <pc:sldMk cId="3339213618" sldId="273"/>
            <ac:spMk id="24" creationId="{97767800-72EB-3036-BC26-2A8421D20D59}"/>
          </ac:spMkLst>
        </pc:spChg>
        <pc:spChg chg="mod">
          <ac:chgData name="Bittner, Bodowin Silvester" userId="7336ac58-4196-4884-88d1-0dfe9a9e63cc" providerId="ADAL" clId="{EF851D9D-8985-41D7-9F7A-DB5DF06E4443}" dt="2024-04-12T08:58:59.460" v="1516" actId="165"/>
          <ac:spMkLst>
            <pc:docMk/>
            <pc:sldMk cId="3339213618" sldId="273"/>
            <ac:spMk id="25" creationId="{810738D3-F136-E8E5-93CE-D11C3F371EA5}"/>
          </ac:spMkLst>
        </pc:spChg>
        <pc:spChg chg="mod">
          <ac:chgData name="Bittner, Bodowin Silvester" userId="7336ac58-4196-4884-88d1-0dfe9a9e63cc" providerId="ADAL" clId="{EF851D9D-8985-41D7-9F7A-DB5DF06E4443}" dt="2024-04-12T08:58:59.460" v="1516" actId="165"/>
          <ac:spMkLst>
            <pc:docMk/>
            <pc:sldMk cId="3339213618" sldId="273"/>
            <ac:spMk id="27" creationId="{BFA64D40-9DE1-27AE-9740-10CA7864D157}"/>
          </ac:spMkLst>
        </pc:spChg>
        <pc:spChg chg="mod">
          <ac:chgData name="Bittner, Bodowin Silvester" userId="7336ac58-4196-4884-88d1-0dfe9a9e63cc" providerId="ADAL" clId="{EF851D9D-8985-41D7-9F7A-DB5DF06E4443}" dt="2024-04-12T08:58:59.460" v="1516" actId="165"/>
          <ac:spMkLst>
            <pc:docMk/>
            <pc:sldMk cId="3339213618" sldId="273"/>
            <ac:spMk id="28" creationId="{77C770D7-E0B2-6F66-9B29-ECC01DB1426B}"/>
          </ac:spMkLst>
        </pc:spChg>
        <pc:spChg chg="mod">
          <ac:chgData name="Bittner, Bodowin Silvester" userId="7336ac58-4196-4884-88d1-0dfe9a9e63cc" providerId="ADAL" clId="{EF851D9D-8985-41D7-9F7A-DB5DF06E4443}" dt="2024-04-12T08:58:59.460" v="1516" actId="165"/>
          <ac:spMkLst>
            <pc:docMk/>
            <pc:sldMk cId="3339213618" sldId="273"/>
            <ac:spMk id="30" creationId="{E6663FD8-D13B-8EB2-64D0-903887BE1312}"/>
          </ac:spMkLst>
        </pc:spChg>
        <pc:spChg chg="mod">
          <ac:chgData name="Bittner, Bodowin Silvester" userId="7336ac58-4196-4884-88d1-0dfe9a9e63cc" providerId="ADAL" clId="{EF851D9D-8985-41D7-9F7A-DB5DF06E4443}" dt="2024-04-12T08:58:59.460" v="1516" actId="165"/>
          <ac:spMkLst>
            <pc:docMk/>
            <pc:sldMk cId="3339213618" sldId="273"/>
            <ac:spMk id="31" creationId="{0CF22D49-0D78-42EF-AD80-7F2AB1FF9A6A}"/>
          </ac:spMkLst>
        </pc:spChg>
        <pc:spChg chg="add mod ord topLvl">
          <ac:chgData name="Bittner, Bodowin Silvester" userId="7336ac58-4196-4884-88d1-0dfe9a9e63cc" providerId="ADAL" clId="{EF851D9D-8985-41D7-9F7A-DB5DF06E4443}" dt="2024-04-12T08:59:10.361" v="1591"/>
          <ac:spMkLst>
            <pc:docMk/>
            <pc:sldMk cId="3339213618" sldId="273"/>
            <ac:spMk id="32" creationId="{A4206171-25C8-4A75-D2E3-5EF95BC66A9A}"/>
          </ac:spMkLst>
        </pc:spChg>
        <pc:spChg chg="add mod ord topLvl">
          <ac:chgData name="Bittner, Bodowin Silvester" userId="7336ac58-4196-4884-88d1-0dfe9a9e63cc" providerId="ADAL" clId="{EF851D9D-8985-41D7-9F7A-DB5DF06E4443}" dt="2024-04-12T08:59:10.361" v="1591"/>
          <ac:spMkLst>
            <pc:docMk/>
            <pc:sldMk cId="3339213618" sldId="273"/>
            <ac:spMk id="33" creationId="{FC4A8457-DA06-E4F9-B9A2-F7E361B1A112}"/>
          </ac:spMkLst>
        </pc:spChg>
        <pc:spChg chg="add mod ord topLvl">
          <ac:chgData name="Bittner, Bodowin Silvester" userId="7336ac58-4196-4884-88d1-0dfe9a9e63cc" providerId="ADAL" clId="{EF851D9D-8985-41D7-9F7A-DB5DF06E4443}" dt="2024-04-12T08:59:10.361" v="1591"/>
          <ac:spMkLst>
            <pc:docMk/>
            <pc:sldMk cId="3339213618" sldId="273"/>
            <ac:spMk id="34" creationId="{5103FFF4-6EC7-CECF-BA9D-73223D75DFDF}"/>
          </ac:spMkLst>
        </pc:spChg>
        <pc:spChg chg="add del mod ord topLvl">
          <ac:chgData name="Bittner, Bodowin Silvester" userId="7336ac58-4196-4884-88d1-0dfe9a9e63cc" providerId="ADAL" clId="{EF851D9D-8985-41D7-9F7A-DB5DF06E4443}" dt="2024-04-12T09:00:24.137" v="1624"/>
          <ac:spMkLst>
            <pc:docMk/>
            <pc:sldMk cId="3339213618" sldId="273"/>
            <ac:spMk id="35" creationId="{1EC5C585-9695-9FF9-4D75-D9366313AFB2}"/>
          </ac:spMkLst>
        </pc:spChg>
        <pc:spChg chg="mod topLvl">
          <ac:chgData name="Bittner, Bodowin Silvester" userId="7336ac58-4196-4884-88d1-0dfe9a9e63cc" providerId="ADAL" clId="{EF851D9D-8985-41D7-9F7A-DB5DF06E4443}" dt="2024-04-12T08:59:30.989" v="1598" actId="207"/>
          <ac:spMkLst>
            <pc:docMk/>
            <pc:sldMk cId="3339213618" sldId="273"/>
            <ac:spMk id="39" creationId="{121BAC4B-67D1-D429-071A-1D62508197A1}"/>
          </ac:spMkLst>
        </pc:spChg>
        <pc:spChg chg="mod topLvl">
          <ac:chgData name="Bittner, Bodowin Silvester" userId="7336ac58-4196-4884-88d1-0dfe9a9e63cc" providerId="ADAL" clId="{EF851D9D-8985-41D7-9F7A-DB5DF06E4443}" dt="2024-04-12T09:00:22.716" v="1622" actId="207"/>
          <ac:spMkLst>
            <pc:docMk/>
            <pc:sldMk cId="3339213618" sldId="273"/>
            <ac:spMk id="42" creationId="{50438F11-DE62-9916-C606-80BB080871AC}"/>
          </ac:spMkLst>
        </pc:spChg>
        <pc:spChg chg="mod topLvl">
          <ac:chgData name="Bittner, Bodowin Silvester" userId="7336ac58-4196-4884-88d1-0dfe9a9e63cc" providerId="ADAL" clId="{EF851D9D-8985-41D7-9F7A-DB5DF06E4443}" dt="2024-04-12T09:00:22.716" v="1622" actId="207"/>
          <ac:spMkLst>
            <pc:docMk/>
            <pc:sldMk cId="3339213618" sldId="273"/>
            <ac:spMk id="45" creationId="{8A5869C7-FA1B-DE48-7479-078E775ADC26}"/>
          </ac:spMkLst>
        </pc:spChg>
        <pc:spChg chg="mod topLvl">
          <ac:chgData name="Bittner, Bodowin Silvester" userId="7336ac58-4196-4884-88d1-0dfe9a9e63cc" providerId="ADAL" clId="{EF851D9D-8985-41D7-9F7A-DB5DF06E4443}" dt="2024-04-12T09:00:22.716" v="1622" actId="207"/>
          <ac:spMkLst>
            <pc:docMk/>
            <pc:sldMk cId="3339213618" sldId="273"/>
            <ac:spMk id="48" creationId="{8690E236-4EB7-AB1D-CB38-A01F64A5C5D8}"/>
          </ac:spMkLst>
        </pc:spChg>
        <pc:spChg chg="mod topLvl">
          <ac:chgData name="Bittner, Bodowin Silvester" userId="7336ac58-4196-4884-88d1-0dfe9a9e63cc" providerId="ADAL" clId="{EF851D9D-8985-41D7-9F7A-DB5DF06E4443}" dt="2024-04-12T08:59:35.917" v="1599" actId="207"/>
          <ac:spMkLst>
            <pc:docMk/>
            <pc:sldMk cId="3339213618" sldId="273"/>
            <ac:spMk id="51" creationId="{DCBD4529-CB75-09F6-545A-60D765C841DB}"/>
          </ac:spMkLst>
        </pc:spChg>
        <pc:spChg chg="mod">
          <ac:chgData name="Bittner, Bodowin Silvester" userId="7336ac58-4196-4884-88d1-0dfe9a9e63cc" providerId="ADAL" clId="{EF851D9D-8985-41D7-9F7A-DB5DF06E4443}" dt="2024-04-12T08:59:06.185" v="1517" actId="207"/>
          <ac:spMkLst>
            <pc:docMk/>
            <pc:sldMk cId="3339213618" sldId="273"/>
            <ac:spMk id="54" creationId="{E8A21590-581F-69CE-A342-7A55B315EF92}"/>
          </ac:spMkLst>
        </pc:spChg>
        <pc:spChg chg="add mod ord topLvl">
          <ac:chgData name="Bittner, Bodowin Silvester" userId="7336ac58-4196-4884-88d1-0dfe9a9e63cc" providerId="ADAL" clId="{EF851D9D-8985-41D7-9F7A-DB5DF06E4443}" dt="2024-04-12T08:59:55.205" v="1616" actId="1076"/>
          <ac:spMkLst>
            <pc:docMk/>
            <pc:sldMk cId="3339213618" sldId="273"/>
            <ac:spMk id="56" creationId="{C766A8E7-4864-2D2F-8588-AEE4765D85A3}"/>
          </ac:spMkLst>
        </pc:spChg>
        <pc:spChg chg="add mod ord">
          <ac:chgData name="Bittner, Bodowin Silvester" userId="7336ac58-4196-4884-88d1-0dfe9a9e63cc" providerId="ADAL" clId="{EF851D9D-8985-41D7-9F7A-DB5DF06E4443}" dt="2024-04-12T09:00:01.334" v="1617" actId="207"/>
          <ac:spMkLst>
            <pc:docMk/>
            <pc:sldMk cId="3339213618" sldId="273"/>
            <ac:spMk id="64" creationId="{D5EF54F0-0B8E-352F-A7EF-B7F014D755D4}"/>
          </ac:spMkLst>
        </pc:spChg>
        <pc:spChg chg="add mod ord">
          <ac:chgData name="Bittner, Bodowin Silvester" userId="7336ac58-4196-4884-88d1-0dfe9a9e63cc" providerId="ADAL" clId="{EF851D9D-8985-41D7-9F7A-DB5DF06E4443}" dt="2024-04-12T09:00:06.972" v="1618" actId="207"/>
          <ac:spMkLst>
            <pc:docMk/>
            <pc:sldMk cId="3339213618" sldId="273"/>
            <ac:spMk id="65" creationId="{1710D23B-2325-C2CB-06F2-3A8A7E1167C3}"/>
          </ac:spMkLst>
        </pc:spChg>
        <pc:spChg chg="add del mod modVis">
          <ac:chgData name="Bittner, Bodowin Silvester" userId="7336ac58-4196-4884-88d1-0dfe9a9e63cc" providerId="ADAL" clId="{EF851D9D-8985-41D7-9F7A-DB5DF06E4443}" dt="2024-04-12T09:17:55.180" v="2738"/>
          <ac:spMkLst>
            <pc:docMk/>
            <pc:sldMk cId="3339213618" sldId="273"/>
            <ac:spMk id="66" creationId="{6A6049C5-B85D-822C-A34E-ECC1B324BBAA}"/>
          </ac:spMkLst>
        </pc:spChg>
        <pc:spChg chg="add del mod modVis">
          <ac:chgData name="Bittner, Bodowin Silvester" userId="7336ac58-4196-4884-88d1-0dfe9a9e63cc" providerId="ADAL" clId="{EF851D9D-8985-41D7-9F7A-DB5DF06E4443}" dt="2024-04-12T09:17:56.006" v="2766"/>
          <ac:spMkLst>
            <pc:docMk/>
            <pc:sldMk cId="3339213618" sldId="273"/>
            <ac:spMk id="67" creationId="{F74B3DE6-2C4A-41BC-7879-4E4671849895}"/>
          </ac:spMkLst>
        </pc:spChg>
        <pc:spChg chg="add del mod modVis">
          <ac:chgData name="Bittner, Bodowin Silvester" userId="7336ac58-4196-4884-88d1-0dfe9a9e63cc" providerId="ADAL" clId="{EF851D9D-8985-41D7-9F7A-DB5DF06E4443}" dt="2024-04-12T09:17:56.577" v="2794"/>
          <ac:spMkLst>
            <pc:docMk/>
            <pc:sldMk cId="3339213618" sldId="273"/>
            <ac:spMk id="68" creationId="{27A838F7-E206-9AC6-8365-369B15082F69}"/>
          </ac:spMkLst>
        </pc:spChg>
        <pc:spChg chg="add del mod modVis">
          <ac:chgData name="Bittner, Bodowin Silvester" userId="7336ac58-4196-4884-88d1-0dfe9a9e63cc" providerId="ADAL" clId="{EF851D9D-8985-41D7-9F7A-DB5DF06E4443}" dt="2024-04-12T09:17:58.053" v="2823"/>
          <ac:spMkLst>
            <pc:docMk/>
            <pc:sldMk cId="3339213618" sldId="273"/>
            <ac:spMk id="69" creationId="{98D485F9-F2BC-6801-42D6-152D5B83EC25}"/>
          </ac:spMkLst>
        </pc:spChg>
        <pc:grpChg chg="add mod topLvl">
          <ac:chgData name="Bittner, Bodowin Silvester" userId="7336ac58-4196-4884-88d1-0dfe9a9e63cc" providerId="ADAL" clId="{EF851D9D-8985-41D7-9F7A-DB5DF06E4443}" dt="2024-04-12T08:59:08.843" v="1527"/>
          <ac:grpSpMkLst>
            <pc:docMk/>
            <pc:sldMk cId="3339213618" sldId="273"/>
            <ac:grpSpMk id="14" creationId="{73B15D5C-B0BB-C388-9791-AB516ECF6A3E}"/>
          </ac:grpSpMkLst>
        </pc:grpChg>
        <pc:grpChg chg="add mod topLvl">
          <ac:chgData name="Bittner, Bodowin Silvester" userId="7336ac58-4196-4884-88d1-0dfe9a9e63cc" providerId="ADAL" clId="{EF851D9D-8985-41D7-9F7A-DB5DF06E4443}" dt="2024-04-12T08:59:08.844" v="1528"/>
          <ac:grpSpMkLst>
            <pc:docMk/>
            <pc:sldMk cId="3339213618" sldId="273"/>
            <ac:grpSpMk id="17" creationId="{A0BE2191-176C-C479-7A3E-8902D0D66836}"/>
          </ac:grpSpMkLst>
        </pc:grpChg>
        <pc:grpChg chg="mod">
          <ac:chgData name="Bittner, Bodowin Silvester" userId="7336ac58-4196-4884-88d1-0dfe9a9e63cc" providerId="ADAL" clId="{EF851D9D-8985-41D7-9F7A-DB5DF06E4443}" dt="2024-04-12T08:58:59.460" v="1516" actId="165"/>
          <ac:grpSpMkLst>
            <pc:docMk/>
            <pc:sldMk cId="3339213618" sldId="273"/>
            <ac:grpSpMk id="19" creationId="{37B7DC63-C8F9-5B85-BBE5-BAA53C6F3E73}"/>
          </ac:grpSpMkLst>
        </pc:grpChg>
        <pc:grpChg chg="add mod topLvl">
          <ac:chgData name="Bittner, Bodowin Silvester" userId="7336ac58-4196-4884-88d1-0dfe9a9e63cc" providerId="ADAL" clId="{EF851D9D-8985-41D7-9F7A-DB5DF06E4443}" dt="2024-04-12T08:59:08.844" v="1529"/>
          <ac:grpSpMkLst>
            <pc:docMk/>
            <pc:sldMk cId="3339213618" sldId="273"/>
            <ac:grpSpMk id="23" creationId="{AB6FA332-F1E2-B3F7-E8BB-8F56E533D83B}"/>
          </ac:grpSpMkLst>
        </pc:grpChg>
        <pc:grpChg chg="add mod topLvl">
          <ac:chgData name="Bittner, Bodowin Silvester" userId="7336ac58-4196-4884-88d1-0dfe9a9e63cc" providerId="ADAL" clId="{EF851D9D-8985-41D7-9F7A-DB5DF06E4443}" dt="2024-04-12T08:59:08.845" v="1530"/>
          <ac:grpSpMkLst>
            <pc:docMk/>
            <pc:sldMk cId="3339213618" sldId="273"/>
            <ac:grpSpMk id="26" creationId="{BF3B6DEB-E2F1-AC0A-D8D6-A0845B7BBE00}"/>
          </ac:grpSpMkLst>
        </pc:grpChg>
        <pc:grpChg chg="add mod topLvl">
          <ac:chgData name="Bittner, Bodowin Silvester" userId="7336ac58-4196-4884-88d1-0dfe9a9e63cc" providerId="ADAL" clId="{EF851D9D-8985-41D7-9F7A-DB5DF06E4443}" dt="2024-04-12T08:59:08.846" v="1531"/>
          <ac:grpSpMkLst>
            <pc:docMk/>
            <pc:sldMk cId="3339213618" sldId="273"/>
            <ac:grpSpMk id="29" creationId="{011C0EA4-861F-853E-1B56-D5ABBEED81E4}"/>
          </ac:grpSpMkLst>
        </pc:grpChg>
        <pc:grpChg chg="add del mod ord topLvl">
          <ac:chgData name="Bittner, Bodowin Silvester" userId="7336ac58-4196-4884-88d1-0dfe9a9e63cc" providerId="ADAL" clId="{EF851D9D-8985-41D7-9F7A-DB5DF06E4443}" dt="2024-04-12T08:59:19.575" v="1595" actId="165"/>
          <ac:grpSpMkLst>
            <pc:docMk/>
            <pc:sldMk cId="3339213618" sldId="273"/>
            <ac:grpSpMk id="38" creationId="{34F1CF92-75EF-215A-6733-2664E86C80E4}"/>
          </ac:grpSpMkLst>
        </pc:grpChg>
        <pc:grpChg chg="add del mod ord topLvl">
          <ac:chgData name="Bittner, Bodowin Silvester" userId="7336ac58-4196-4884-88d1-0dfe9a9e63cc" providerId="ADAL" clId="{EF851D9D-8985-41D7-9F7A-DB5DF06E4443}" dt="2024-04-12T09:00:10.462" v="1619" actId="165"/>
          <ac:grpSpMkLst>
            <pc:docMk/>
            <pc:sldMk cId="3339213618" sldId="273"/>
            <ac:grpSpMk id="41" creationId="{54D2C9E0-EBBF-6962-7AE3-245495CA4C0E}"/>
          </ac:grpSpMkLst>
        </pc:grpChg>
        <pc:grpChg chg="add del mod ord topLvl">
          <ac:chgData name="Bittner, Bodowin Silvester" userId="7336ac58-4196-4884-88d1-0dfe9a9e63cc" providerId="ADAL" clId="{EF851D9D-8985-41D7-9F7A-DB5DF06E4443}" dt="2024-04-12T09:00:10.462" v="1619" actId="165"/>
          <ac:grpSpMkLst>
            <pc:docMk/>
            <pc:sldMk cId="3339213618" sldId="273"/>
            <ac:grpSpMk id="44" creationId="{4E074812-3609-6CD1-D642-41B4359D035B}"/>
          </ac:grpSpMkLst>
        </pc:grpChg>
        <pc:grpChg chg="add del mod ord topLvl">
          <ac:chgData name="Bittner, Bodowin Silvester" userId="7336ac58-4196-4884-88d1-0dfe9a9e63cc" providerId="ADAL" clId="{EF851D9D-8985-41D7-9F7A-DB5DF06E4443}" dt="2024-04-12T09:00:10.462" v="1619" actId="165"/>
          <ac:grpSpMkLst>
            <pc:docMk/>
            <pc:sldMk cId="3339213618" sldId="273"/>
            <ac:grpSpMk id="47" creationId="{74A5A579-AA3B-8F19-926A-E52C300A7BD9}"/>
          </ac:grpSpMkLst>
        </pc:grpChg>
        <pc:grpChg chg="add del mod ord topLvl">
          <ac:chgData name="Bittner, Bodowin Silvester" userId="7336ac58-4196-4884-88d1-0dfe9a9e63cc" providerId="ADAL" clId="{EF851D9D-8985-41D7-9F7A-DB5DF06E4443}" dt="2024-04-12T08:59:19.575" v="1595" actId="165"/>
          <ac:grpSpMkLst>
            <pc:docMk/>
            <pc:sldMk cId="3339213618" sldId="273"/>
            <ac:grpSpMk id="50" creationId="{61BD29EB-38CE-1947-AA25-C9CAE3A69343}"/>
          </ac:grpSpMkLst>
        </pc:grpChg>
        <pc:grpChg chg="add del mod ord topLvl">
          <ac:chgData name="Bittner, Bodowin Silvester" userId="7336ac58-4196-4884-88d1-0dfe9a9e63cc" providerId="ADAL" clId="{EF851D9D-8985-41D7-9F7A-DB5DF06E4443}" dt="2024-04-12T08:59:10.361" v="1591"/>
          <ac:grpSpMkLst>
            <pc:docMk/>
            <pc:sldMk cId="3339213618" sldId="273"/>
            <ac:grpSpMk id="53" creationId="{962B0AE4-8F00-F54E-C8FE-067453258414}"/>
          </ac:grpSpMkLst>
        </pc:grpChg>
        <pc:grpChg chg="add del mod">
          <ac:chgData name="Bittner, Bodowin Silvester" userId="7336ac58-4196-4884-88d1-0dfe9a9e63cc" providerId="ADAL" clId="{EF851D9D-8985-41D7-9F7A-DB5DF06E4443}" dt="2024-04-12T08:58:59.460" v="1516" actId="165"/>
          <ac:grpSpMkLst>
            <pc:docMk/>
            <pc:sldMk cId="3339213618" sldId="273"/>
            <ac:grpSpMk id="57" creationId="{2220A49C-C9FD-4534-AE13-2099F8B8F7A4}"/>
          </ac:grpSpMkLst>
        </pc:grpChg>
        <pc:graphicFrameChg chg="add mod ord modVis replST">
          <ac:chgData name="Bittner, Bodowin Silvester" userId="7336ac58-4196-4884-88d1-0dfe9a9e63cc" providerId="ADAL" clId="{EF851D9D-8985-41D7-9F7A-DB5DF06E4443}" dt="2024-04-12T09:17:58.059" v="2825"/>
          <ac:graphicFrameMkLst>
            <pc:docMk/>
            <pc:sldMk cId="3339213618" sldId="273"/>
            <ac:graphicFrameMk id="7" creationId="{6B79E7A5-B97E-E60F-FB79-7947CD67BD41}"/>
          </ac:graphicFrameMkLst>
        </pc:graphicFrameChg>
        <pc:picChg chg="add mod ord topLvl">
          <ac:chgData name="Bittner, Bodowin Silvester" userId="7336ac58-4196-4884-88d1-0dfe9a9e63cc" providerId="ADAL" clId="{EF851D9D-8985-41D7-9F7A-DB5DF06E4443}" dt="2024-04-12T08:59:10.361" v="1591"/>
          <ac:picMkLst>
            <pc:docMk/>
            <pc:sldMk cId="3339213618" sldId="273"/>
            <ac:picMk id="36" creationId="{234445D8-12DB-8CE9-7143-5B1B68222974}"/>
          </ac:picMkLst>
        </pc:picChg>
        <pc:picChg chg="add del mod">
          <ac:chgData name="Bittner, Bodowin Silvester" userId="7336ac58-4196-4884-88d1-0dfe9a9e63cc" providerId="ADAL" clId="{EF851D9D-8985-41D7-9F7A-DB5DF06E4443}" dt="2024-04-12T08:57:01.721" v="1427" actId="478"/>
          <ac:picMkLst>
            <pc:docMk/>
            <pc:sldMk cId="3339213618" sldId="273"/>
            <ac:picMk id="37" creationId="{7D11B2DB-6187-12D9-2D7A-A1E3A407338C}"/>
          </ac:picMkLst>
        </pc:picChg>
        <pc:picChg chg="mod topLvl">
          <ac:chgData name="Bittner, Bodowin Silvester" userId="7336ac58-4196-4884-88d1-0dfe9a9e63cc" providerId="ADAL" clId="{EF851D9D-8985-41D7-9F7A-DB5DF06E4443}" dt="2024-04-12T08:59:19.575" v="1595" actId="165"/>
          <ac:picMkLst>
            <pc:docMk/>
            <pc:sldMk cId="3339213618" sldId="273"/>
            <ac:picMk id="40" creationId="{001CF7CA-261A-0F1C-6D92-6BC1EA7B0471}"/>
          </ac:picMkLst>
        </pc:picChg>
        <pc:picChg chg="mod topLvl">
          <ac:chgData name="Bittner, Bodowin Silvester" userId="7336ac58-4196-4884-88d1-0dfe9a9e63cc" providerId="ADAL" clId="{EF851D9D-8985-41D7-9F7A-DB5DF06E4443}" dt="2024-04-12T09:00:10.462" v="1619" actId="165"/>
          <ac:picMkLst>
            <pc:docMk/>
            <pc:sldMk cId="3339213618" sldId="273"/>
            <ac:picMk id="43" creationId="{157ECB3F-062E-4CE5-8213-C9408B0445A8}"/>
          </ac:picMkLst>
        </pc:picChg>
        <pc:picChg chg="mod topLvl">
          <ac:chgData name="Bittner, Bodowin Silvester" userId="7336ac58-4196-4884-88d1-0dfe9a9e63cc" providerId="ADAL" clId="{EF851D9D-8985-41D7-9F7A-DB5DF06E4443}" dt="2024-04-12T09:00:10.462" v="1619" actId="165"/>
          <ac:picMkLst>
            <pc:docMk/>
            <pc:sldMk cId="3339213618" sldId="273"/>
            <ac:picMk id="46" creationId="{58E974DA-558F-C7BC-F89C-3ED1DD9051C1}"/>
          </ac:picMkLst>
        </pc:picChg>
        <pc:picChg chg="mod topLvl">
          <ac:chgData name="Bittner, Bodowin Silvester" userId="7336ac58-4196-4884-88d1-0dfe9a9e63cc" providerId="ADAL" clId="{EF851D9D-8985-41D7-9F7A-DB5DF06E4443}" dt="2024-04-12T09:00:10.462" v="1619" actId="165"/>
          <ac:picMkLst>
            <pc:docMk/>
            <pc:sldMk cId="3339213618" sldId="273"/>
            <ac:picMk id="49" creationId="{EC885753-20B2-F743-B1A2-4FE1958B590D}"/>
          </ac:picMkLst>
        </pc:picChg>
        <pc:picChg chg="mod topLvl">
          <ac:chgData name="Bittner, Bodowin Silvester" userId="7336ac58-4196-4884-88d1-0dfe9a9e63cc" providerId="ADAL" clId="{EF851D9D-8985-41D7-9F7A-DB5DF06E4443}" dt="2024-04-12T08:59:19.575" v="1595" actId="165"/>
          <ac:picMkLst>
            <pc:docMk/>
            <pc:sldMk cId="3339213618" sldId="273"/>
            <ac:picMk id="52" creationId="{DEAB37DA-2A92-3510-86D5-D5A47E362F39}"/>
          </ac:picMkLst>
        </pc:picChg>
        <pc:picChg chg="add del mod">
          <ac:chgData name="Bittner, Bodowin Silvester" userId="7336ac58-4196-4884-88d1-0dfe9a9e63cc" providerId="ADAL" clId="{EF851D9D-8985-41D7-9F7A-DB5DF06E4443}" dt="2024-04-12T08:59:14.419" v="1594" actId="207"/>
          <ac:picMkLst>
            <pc:docMk/>
            <pc:sldMk cId="3339213618" sldId="273"/>
            <ac:picMk id="55" creationId="{95DDE4B4-1F47-378B-DC43-63F086BC223F}"/>
          </ac:picMkLst>
        </pc:picChg>
        <pc:picChg chg="add mod ord">
          <ac:chgData name="Bittner, Bodowin Silvester" userId="7336ac58-4196-4884-88d1-0dfe9a9e63cc" providerId="ADAL" clId="{EF851D9D-8985-41D7-9F7A-DB5DF06E4443}" dt="2024-04-12T08:59:10.361" v="1591"/>
          <ac:picMkLst>
            <pc:docMk/>
            <pc:sldMk cId="3339213618" sldId="273"/>
            <ac:picMk id="59" creationId="{F1851111-CF60-F14F-BEA0-00FC2D835705}"/>
          </ac:picMkLst>
        </pc:picChg>
        <pc:picChg chg="add mod ord">
          <ac:chgData name="Bittner, Bodowin Silvester" userId="7336ac58-4196-4884-88d1-0dfe9a9e63cc" providerId="ADAL" clId="{EF851D9D-8985-41D7-9F7A-DB5DF06E4443}" dt="2024-04-12T08:59:10.361" v="1591"/>
          <ac:picMkLst>
            <pc:docMk/>
            <pc:sldMk cId="3339213618" sldId="273"/>
            <ac:picMk id="61" creationId="{311F48DF-9DAE-05BB-C5DE-AB49D61CD5AE}"/>
          </ac:picMkLst>
        </pc:picChg>
        <pc:picChg chg="add mod ord">
          <ac:chgData name="Bittner, Bodowin Silvester" userId="7336ac58-4196-4884-88d1-0dfe9a9e63cc" providerId="ADAL" clId="{EF851D9D-8985-41D7-9F7A-DB5DF06E4443}" dt="2024-04-12T08:59:10.361" v="1591"/>
          <ac:picMkLst>
            <pc:docMk/>
            <pc:sldMk cId="3339213618" sldId="273"/>
            <ac:picMk id="63" creationId="{C1AAD5D6-BFC9-593A-E421-E99C66A440D2}"/>
          </ac:picMkLst>
        </pc:picChg>
      </pc:sldChg>
      <pc:sldChg chg="addSp delSp modSp add mod">
        <pc:chgData name="Bittner, Bodowin Silvester" userId="7336ac58-4196-4884-88d1-0dfe9a9e63cc" providerId="ADAL" clId="{EF851D9D-8985-41D7-9F7A-DB5DF06E4443}" dt="2024-04-12T09:15:52.579" v="2563" actId="20577"/>
        <pc:sldMkLst>
          <pc:docMk/>
          <pc:sldMk cId="3663173036" sldId="274"/>
        </pc:sldMkLst>
        <pc:spChg chg="mod">
          <ac:chgData name="Bittner, Bodowin Silvester" userId="7336ac58-4196-4884-88d1-0dfe9a9e63cc" providerId="ADAL" clId="{EF851D9D-8985-41D7-9F7A-DB5DF06E4443}" dt="2024-04-12T09:15:46.369" v="2529" actId="948"/>
          <ac:spMkLst>
            <pc:docMk/>
            <pc:sldMk cId="3663173036" sldId="274"/>
            <ac:spMk id="2" creationId="{4C1BAF9D-6E9E-9429-FB70-E10C16E355E3}"/>
          </ac:spMkLst>
        </pc:spChg>
        <pc:spChg chg="add mod">
          <ac:chgData name="Bittner, Bodowin Silvester" userId="7336ac58-4196-4884-88d1-0dfe9a9e63cc" providerId="ADAL" clId="{EF851D9D-8985-41D7-9F7A-DB5DF06E4443}" dt="2024-04-12T08:45:47.409" v="809"/>
          <ac:spMkLst>
            <pc:docMk/>
            <pc:sldMk cId="3663173036" sldId="274"/>
            <ac:spMk id="3" creationId="{2AE33EBC-55C1-2F1A-83BB-35F6F5A98554}"/>
          </ac:spMkLst>
        </pc:spChg>
        <pc:spChg chg="add mod">
          <ac:chgData name="Bittner, Bodowin Silvester" userId="7336ac58-4196-4884-88d1-0dfe9a9e63cc" providerId="ADAL" clId="{EF851D9D-8985-41D7-9F7A-DB5DF06E4443}" dt="2024-04-12T08:45:47.409" v="809"/>
          <ac:spMkLst>
            <pc:docMk/>
            <pc:sldMk cId="3663173036" sldId="274"/>
            <ac:spMk id="6" creationId="{2C896449-4492-BB02-3324-78AF23D106BD}"/>
          </ac:spMkLst>
        </pc:spChg>
        <pc:spChg chg="add mod">
          <ac:chgData name="Bittner, Bodowin Silvester" userId="7336ac58-4196-4884-88d1-0dfe9a9e63cc" providerId="ADAL" clId="{EF851D9D-8985-41D7-9F7A-DB5DF06E4443}" dt="2024-04-12T08:45:47.409" v="809"/>
          <ac:spMkLst>
            <pc:docMk/>
            <pc:sldMk cId="3663173036" sldId="274"/>
            <ac:spMk id="8" creationId="{101708DA-EE5F-541E-A6E9-52251BF239BD}"/>
          </ac:spMkLst>
        </pc:spChg>
        <pc:spChg chg="add mod">
          <ac:chgData name="Bittner, Bodowin Silvester" userId="7336ac58-4196-4884-88d1-0dfe9a9e63cc" providerId="ADAL" clId="{EF851D9D-8985-41D7-9F7A-DB5DF06E4443}" dt="2024-04-12T08:45:47.409" v="809"/>
          <ac:spMkLst>
            <pc:docMk/>
            <pc:sldMk cId="3663173036" sldId="274"/>
            <ac:spMk id="9" creationId="{5842826C-C694-261C-03F1-6B6E786BBBEA}"/>
          </ac:spMkLst>
        </pc:spChg>
        <pc:spChg chg="add mod">
          <ac:chgData name="Bittner, Bodowin Silvester" userId="7336ac58-4196-4884-88d1-0dfe9a9e63cc" providerId="ADAL" clId="{EF851D9D-8985-41D7-9F7A-DB5DF06E4443}" dt="2024-04-12T08:45:47.409" v="809"/>
          <ac:spMkLst>
            <pc:docMk/>
            <pc:sldMk cId="3663173036" sldId="274"/>
            <ac:spMk id="10" creationId="{2CBF4A68-CCB2-86DB-6B39-04D7DF3A5BF2}"/>
          </ac:spMkLst>
        </pc:spChg>
        <pc:spChg chg="add mod">
          <ac:chgData name="Bittner, Bodowin Silvester" userId="7336ac58-4196-4884-88d1-0dfe9a9e63cc" providerId="ADAL" clId="{EF851D9D-8985-41D7-9F7A-DB5DF06E4443}" dt="2024-04-12T08:45:47.409" v="809"/>
          <ac:spMkLst>
            <pc:docMk/>
            <pc:sldMk cId="3663173036" sldId="274"/>
            <ac:spMk id="11" creationId="{A6589839-3794-9E70-D3A1-7816CE6A74EA}"/>
          </ac:spMkLst>
        </pc:spChg>
        <pc:spChg chg="add mod">
          <ac:chgData name="Bittner, Bodowin Silvester" userId="7336ac58-4196-4884-88d1-0dfe9a9e63cc" providerId="ADAL" clId="{EF851D9D-8985-41D7-9F7A-DB5DF06E4443}" dt="2024-04-12T09:15:52.579" v="2563" actId="20577"/>
          <ac:spMkLst>
            <pc:docMk/>
            <pc:sldMk cId="3663173036" sldId="274"/>
            <ac:spMk id="12" creationId="{9540D60A-5455-E18F-2E7D-261B889C2105}"/>
          </ac:spMkLst>
        </pc:spChg>
        <pc:spChg chg="add mod">
          <ac:chgData name="Bittner, Bodowin Silvester" userId="7336ac58-4196-4884-88d1-0dfe9a9e63cc" providerId="ADAL" clId="{EF851D9D-8985-41D7-9F7A-DB5DF06E4443}" dt="2024-04-12T08:45:47.409" v="809"/>
          <ac:spMkLst>
            <pc:docMk/>
            <pc:sldMk cId="3663173036" sldId="274"/>
            <ac:spMk id="13" creationId="{39EE3A5F-2CA0-1BB1-9D37-99337987BEC3}"/>
          </ac:spMkLst>
        </pc:spChg>
        <pc:spChg chg="add mod">
          <ac:chgData name="Bittner, Bodowin Silvester" userId="7336ac58-4196-4884-88d1-0dfe9a9e63cc" providerId="ADAL" clId="{EF851D9D-8985-41D7-9F7A-DB5DF06E4443}" dt="2024-04-12T08:45:47.409" v="809"/>
          <ac:spMkLst>
            <pc:docMk/>
            <pc:sldMk cId="3663173036" sldId="274"/>
            <ac:spMk id="14" creationId="{AF0A74EC-E406-0BAC-8569-9FEC2FE99511}"/>
          </ac:spMkLst>
        </pc:spChg>
        <pc:spChg chg="add mod">
          <ac:chgData name="Bittner, Bodowin Silvester" userId="7336ac58-4196-4884-88d1-0dfe9a9e63cc" providerId="ADAL" clId="{EF851D9D-8985-41D7-9F7A-DB5DF06E4443}" dt="2024-04-12T08:45:47.409" v="809"/>
          <ac:spMkLst>
            <pc:docMk/>
            <pc:sldMk cId="3663173036" sldId="274"/>
            <ac:spMk id="15" creationId="{8602C2BB-EE5A-D1E1-82E8-D9E1E342227F}"/>
          </ac:spMkLst>
        </pc:spChg>
        <pc:spChg chg="add del mod modVis">
          <ac:chgData name="Bittner, Bodowin Silvester" userId="7336ac58-4196-4884-88d1-0dfe9a9e63cc" providerId="ADAL" clId="{EF851D9D-8985-41D7-9F7A-DB5DF06E4443}" dt="2024-04-12T09:15:46.430" v="2553"/>
          <ac:spMkLst>
            <pc:docMk/>
            <pc:sldMk cId="3663173036" sldId="274"/>
            <ac:spMk id="21" creationId="{D5719DD8-313D-71E0-BAEC-64E5AFF352AA}"/>
          </ac:spMkLst>
        </pc:spChg>
        <pc:graphicFrameChg chg="mod">
          <ac:chgData name="Bittner, Bodowin Silvester" userId="7336ac58-4196-4884-88d1-0dfe9a9e63cc" providerId="ADAL" clId="{EF851D9D-8985-41D7-9F7A-DB5DF06E4443}" dt="2024-04-12T09:15:46.434" v="2555"/>
          <ac:graphicFrameMkLst>
            <pc:docMk/>
            <pc:sldMk cId="3663173036" sldId="274"/>
            <ac:graphicFrameMk id="7" creationId="{6B79E7A5-B97E-E60F-FB79-7947CD67BD41}"/>
          </ac:graphicFrameMkLst>
        </pc:graphicFrameChg>
        <pc:picChg chg="add mod">
          <ac:chgData name="Bittner, Bodowin Silvester" userId="7336ac58-4196-4884-88d1-0dfe9a9e63cc" providerId="ADAL" clId="{EF851D9D-8985-41D7-9F7A-DB5DF06E4443}" dt="2024-04-12T08:45:47.409" v="809"/>
          <ac:picMkLst>
            <pc:docMk/>
            <pc:sldMk cId="3663173036" sldId="274"/>
            <ac:picMk id="16" creationId="{35DFF0D0-C770-2DEA-164E-572E141C7C53}"/>
          </ac:picMkLst>
        </pc:picChg>
        <pc:picChg chg="add mod">
          <ac:chgData name="Bittner, Bodowin Silvester" userId="7336ac58-4196-4884-88d1-0dfe9a9e63cc" providerId="ADAL" clId="{EF851D9D-8985-41D7-9F7A-DB5DF06E4443}" dt="2024-04-12T08:45:47.409" v="809"/>
          <ac:picMkLst>
            <pc:docMk/>
            <pc:sldMk cId="3663173036" sldId="274"/>
            <ac:picMk id="17" creationId="{435BF246-3333-4E36-98EB-CB9C92A686D4}"/>
          </ac:picMkLst>
        </pc:picChg>
        <pc:picChg chg="add mod">
          <ac:chgData name="Bittner, Bodowin Silvester" userId="7336ac58-4196-4884-88d1-0dfe9a9e63cc" providerId="ADAL" clId="{EF851D9D-8985-41D7-9F7A-DB5DF06E4443}" dt="2024-04-12T08:45:47.409" v="809"/>
          <ac:picMkLst>
            <pc:docMk/>
            <pc:sldMk cId="3663173036" sldId="274"/>
            <ac:picMk id="18" creationId="{65FEA997-1F8A-8361-B255-57E1EFC64245}"/>
          </ac:picMkLst>
        </pc:picChg>
        <pc:picChg chg="add mod">
          <ac:chgData name="Bittner, Bodowin Silvester" userId="7336ac58-4196-4884-88d1-0dfe9a9e63cc" providerId="ADAL" clId="{EF851D9D-8985-41D7-9F7A-DB5DF06E4443}" dt="2024-04-12T08:45:47.409" v="809"/>
          <ac:picMkLst>
            <pc:docMk/>
            <pc:sldMk cId="3663173036" sldId="274"/>
            <ac:picMk id="19" creationId="{12DE4CF4-C5EA-4F74-5CAC-01887F3624AD}"/>
          </ac:picMkLst>
        </pc:picChg>
        <pc:picChg chg="add mod">
          <ac:chgData name="Bittner, Bodowin Silvester" userId="7336ac58-4196-4884-88d1-0dfe9a9e63cc" providerId="ADAL" clId="{EF851D9D-8985-41D7-9F7A-DB5DF06E4443}" dt="2024-04-12T08:45:47.409" v="809"/>
          <ac:picMkLst>
            <pc:docMk/>
            <pc:sldMk cId="3663173036" sldId="274"/>
            <ac:picMk id="20" creationId="{48B5AAA0-5A7A-7BDD-FAEE-19194AAE70E3}"/>
          </ac:picMkLst>
        </pc:picChg>
      </pc:sldChg>
      <pc:sldChg chg="addSp delSp modSp new mod ord">
        <pc:chgData name="Bittner, Bodowin Silvester" userId="7336ac58-4196-4884-88d1-0dfe9a9e63cc" providerId="ADAL" clId="{EF851D9D-8985-41D7-9F7A-DB5DF06E4443}" dt="2024-04-12T09:26:53.792" v="3114" actId="1076"/>
        <pc:sldMkLst>
          <pc:docMk/>
          <pc:sldMk cId="430022710" sldId="275"/>
        </pc:sldMkLst>
        <pc:spChg chg="del">
          <ac:chgData name="Bittner, Bodowin Silvester" userId="7336ac58-4196-4884-88d1-0dfe9a9e63cc" providerId="ADAL" clId="{EF851D9D-8985-41D7-9F7A-DB5DF06E4443}" dt="2024-04-11T22:36:00.236" v="514" actId="478"/>
          <ac:spMkLst>
            <pc:docMk/>
            <pc:sldMk cId="430022710" sldId="275"/>
            <ac:spMk id="2" creationId="{8CFE2A8A-E674-EFAE-B329-502A5D045765}"/>
          </ac:spMkLst>
        </pc:spChg>
        <pc:spChg chg="del">
          <ac:chgData name="Bittner, Bodowin Silvester" userId="7336ac58-4196-4884-88d1-0dfe9a9e63cc" providerId="ADAL" clId="{EF851D9D-8985-41D7-9F7A-DB5DF06E4443}" dt="2024-04-11T22:36:00.236" v="514" actId="478"/>
          <ac:spMkLst>
            <pc:docMk/>
            <pc:sldMk cId="430022710" sldId="275"/>
            <ac:spMk id="3" creationId="{7BB1FD93-BA42-BB27-409E-EC1B409BBC25}"/>
          </ac:spMkLst>
        </pc:spChg>
        <pc:spChg chg="add mod">
          <ac:chgData name="Bittner, Bodowin Silvester" userId="7336ac58-4196-4884-88d1-0dfe9a9e63cc" providerId="ADAL" clId="{EF851D9D-8985-41D7-9F7A-DB5DF06E4443}" dt="2024-04-12T08:53:40.910" v="1196" actId="948"/>
          <ac:spMkLst>
            <pc:docMk/>
            <pc:sldMk cId="430022710" sldId="275"/>
            <ac:spMk id="8" creationId="{DDDA5F44-F6C4-BC2E-3C3C-030203F92CE7}"/>
          </ac:spMkLst>
        </pc:spChg>
        <pc:spChg chg="add del mod modVis">
          <ac:chgData name="Bittner, Bodowin Silvester" userId="7336ac58-4196-4884-88d1-0dfe9a9e63cc" providerId="ADAL" clId="{EF851D9D-8985-41D7-9F7A-DB5DF06E4443}" dt="2024-04-11T22:36:45.773" v="561"/>
          <ac:spMkLst>
            <pc:docMk/>
            <pc:sldMk cId="430022710" sldId="275"/>
            <ac:spMk id="9" creationId="{15E1DBB6-364C-8992-E790-2FC90A2BDC67}"/>
          </ac:spMkLst>
        </pc:spChg>
        <pc:spChg chg="add mod">
          <ac:chgData name="Bittner, Bodowin Silvester" userId="7336ac58-4196-4884-88d1-0dfe9a9e63cc" providerId="ADAL" clId="{EF851D9D-8985-41D7-9F7A-DB5DF06E4443}" dt="2024-04-12T08:52:05.727" v="1173" actId="20577"/>
          <ac:spMkLst>
            <pc:docMk/>
            <pc:sldMk cId="430022710" sldId="275"/>
            <ac:spMk id="10" creationId="{C5CBC551-9D38-D577-4580-ACF5DB1CD687}"/>
          </ac:spMkLst>
        </pc:spChg>
        <pc:spChg chg="add mod">
          <ac:chgData name="Bittner, Bodowin Silvester" userId="7336ac58-4196-4884-88d1-0dfe9a9e63cc" providerId="ADAL" clId="{EF851D9D-8985-41D7-9F7A-DB5DF06E4443}" dt="2024-04-12T09:26:43.593" v="3112" actId="208"/>
          <ac:spMkLst>
            <pc:docMk/>
            <pc:sldMk cId="430022710" sldId="275"/>
            <ac:spMk id="13" creationId="{7C303EE7-73DD-7AFD-2D9A-9B1C659F9CDD}"/>
          </ac:spMkLst>
        </pc:spChg>
        <pc:graphicFrameChg chg="add mod ord modVis replST">
          <ac:chgData name="Bittner, Bodowin Silvester" userId="7336ac58-4196-4884-88d1-0dfe9a9e63cc" providerId="ADAL" clId="{EF851D9D-8985-41D7-9F7A-DB5DF06E4443}" dt="2024-04-12T08:53:40.924" v="1200"/>
          <ac:graphicFrameMkLst>
            <pc:docMk/>
            <pc:sldMk cId="430022710" sldId="275"/>
            <ac:graphicFrameMk id="6" creationId="{681CB255-14D3-6DBE-9F38-D09291AA9CD8}"/>
          </ac:graphicFrameMkLst>
        </pc:graphicFrameChg>
        <pc:picChg chg="add del mod">
          <ac:chgData name="Bittner, Bodowin Silvester" userId="7336ac58-4196-4884-88d1-0dfe9a9e63cc" providerId="ADAL" clId="{EF851D9D-8985-41D7-9F7A-DB5DF06E4443}" dt="2024-04-12T09:16:03.614" v="2564" actId="478"/>
          <ac:picMkLst>
            <pc:docMk/>
            <pc:sldMk cId="430022710" sldId="275"/>
            <ac:picMk id="7" creationId="{12A31EDB-B2D9-81A1-B2FE-F6B3DDD81D1B}"/>
          </ac:picMkLst>
        </pc:picChg>
        <pc:picChg chg="add mod modCrop">
          <ac:chgData name="Bittner, Bodowin Silvester" userId="7336ac58-4196-4884-88d1-0dfe9a9e63cc" providerId="ADAL" clId="{EF851D9D-8985-41D7-9F7A-DB5DF06E4443}" dt="2024-04-12T09:17:17.761" v="2569" actId="732"/>
          <ac:picMkLst>
            <pc:docMk/>
            <pc:sldMk cId="430022710" sldId="275"/>
            <ac:picMk id="12" creationId="{F1CB4F80-7CDD-F707-731A-95E198BFBF84}"/>
          </ac:picMkLst>
        </pc:picChg>
        <pc:picChg chg="add mod">
          <ac:chgData name="Bittner, Bodowin Silvester" userId="7336ac58-4196-4884-88d1-0dfe9a9e63cc" providerId="ADAL" clId="{EF851D9D-8985-41D7-9F7A-DB5DF06E4443}" dt="2024-04-12T09:26:53.792" v="3114" actId="1076"/>
          <ac:picMkLst>
            <pc:docMk/>
            <pc:sldMk cId="430022710" sldId="275"/>
            <ac:picMk id="14" creationId="{197465D5-31BC-15A2-675D-1C6B650CEECF}"/>
          </ac:picMkLst>
        </pc:picChg>
      </pc:sldChg>
      <pc:sldChg chg="addSp delSp modSp new mod">
        <pc:chgData name="Bittner, Bodowin Silvester" userId="7336ac58-4196-4884-88d1-0dfe9a9e63cc" providerId="ADAL" clId="{EF851D9D-8985-41D7-9F7A-DB5DF06E4443}" dt="2024-04-12T09:15:40.377" v="2512"/>
        <pc:sldMkLst>
          <pc:docMk/>
          <pc:sldMk cId="603109729" sldId="276"/>
        </pc:sldMkLst>
        <pc:spChg chg="mod">
          <ac:chgData name="Bittner, Bodowin Silvester" userId="7336ac58-4196-4884-88d1-0dfe9a9e63cc" providerId="ADAL" clId="{EF851D9D-8985-41D7-9F7A-DB5DF06E4443}" dt="2024-04-12T09:15:40.310" v="2486" actId="948"/>
          <ac:spMkLst>
            <pc:docMk/>
            <pc:sldMk cId="603109729" sldId="276"/>
            <ac:spMk id="2" creationId="{4BB01E10-7E38-3DBA-35D1-590B2543B8BE}"/>
          </ac:spMkLst>
        </pc:spChg>
        <pc:spChg chg="del">
          <ac:chgData name="Bittner, Bodowin Silvester" userId="7336ac58-4196-4884-88d1-0dfe9a9e63cc" providerId="ADAL" clId="{EF851D9D-8985-41D7-9F7A-DB5DF06E4443}" dt="2024-04-12T08:46:48.870" v="955" actId="478"/>
          <ac:spMkLst>
            <pc:docMk/>
            <pc:sldMk cId="603109729" sldId="276"/>
            <ac:spMk id="3" creationId="{9E2839C9-AA73-0858-7ABD-2030E8ED95FF}"/>
          </ac:spMkLst>
        </pc:spChg>
        <pc:spChg chg="add del mod modVis">
          <ac:chgData name="Bittner, Bodowin Silvester" userId="7336ac58-4196-4884-88d1-0dfe9a9e63cc" providerId="ADAL" clId="{EF851D9D-8985-41D7-9F7A-DB5DF06E4443}" dt="2024-04-12T08:46:36.444" v="844"/>
          <ac:spMkLst>
            <pc:docMk/>
            <pc:sldMk cId="603109729" sldId="276"/>
            <ac:spMk id="7" creationId="{9C3C139C-3858-ADA8-07BC-C99AF433DFB9}"/>
          </ac:spMkLst>
        </pc:spChg>
        <pc:spChg chg="add del mod modVis">
          <ac:chgData name="Bittner, Bodowin Silvester" userId="7336ac58-4196-4884-88d1-0dfe9a9e63cc" providerId="ADAL" clId="{EF851D9D-8985-41D7-9F7A-DB5DF06E4443}" dt="2024-04-12T08:46:38.078" v="878"/>
          <ac:spMkLst>
            <pc:docMk/>
            <pc:sldMk cId="603109729" sldId="276"/>
            <ac:spMk id="8" creationId="{00823913-A912-317B-DD59-128CB3DD8078}"/>
          </ac:spMkLst>
        </pc:spChg>
        <pc:spChg chg="add del mod modVis">
          <ac:chgData name="Bittner, Bodowin Silvester" userId="7336ac58-4196-4884-88d1-0dfe9a9e63cc" providerId="ADAL" clId="{EF851D9D-8985-41D7-9F7A-DB5DF06E4443}" dt="2024-04-12T08:46:46.553" v="952"/>
          <ac:spMkLst>
            <pc:docMk/>
            <pc:sldMk cId="603109729" sldId="276"/>
            <ac:spMk id="9" creationId="{90B8C363-35F1-FA1D-E004-25F0717145BD}"/>
          </ac:spMkLst>
        </pc:spChg>
        <pc:spChg chg="add mod">
          <ac:chgData name="Bittner, Bodowin Silvester" userId="7336ac58-4196-4884-88d1-0dfe9a9e63cc" providerId="ADAL" clId="{EF851D9D-8985-41D7-9F7A-DB5DF06E4443}" dt="2024-04-12T08:49:54.630" v="1023" actId="208"/>
          <ac:spMkLst>
            <pc:docMk/>
            <pc:sldMk cId="603109729" sldId="276"/>
            <ac:spMk id="10" creationId="{13C06DA0-273E-04ED-C9E2-F958F85FA1AE}"/>
          </ac:spMkLst>
        </pc:spChg>
        <pc:spChg chg="add mod">
          <ac:chgData name="Bittner, Bodowin Silvester" userId="7336ac58-4196-4884-88d1-0dfe9a9e63cc" providerId="ADAL" clId="{EF851D9D-8985-41D7-9F7A-DB5DF06E4443}" dt="2024-04-12T08:49:48.349" v="1022" actId="208"/>
          <ac:spMkLst>
            <pc:docMk/>
            <pc:sldMk cId="603109729" sldId="276"/>
            <ac:spMk id="11" creationId="{CFB60948-44B8-DB7A-E579-86E923B340A0}"/>
          </ac:spMkLst>
        </pc:spChg>
        <pc:spChg chg="add mod">
          <ac:chgData name="Bittner, Bodowin Silvester" userId="7336ac58-4196-4884-88d1-0dfe9a9e63cc" providerId="ADAL" clId="{EF851D9D-8985-41D7-9F7A-DB5DF06E4443}" dt="2024-04-12T08:49:43.886" v="1021" actId="208"/>
          <ac:spMkLst>
            <pc:docMk/>
            <pc:sldMk cId="603109729" sldId="276"/>
            <ac:spMk id="12" creationId="{4E989230-8E96-894B-3564-F13853D983C7}"/>
          </ac:spMkLst>
        </pc:spChg>
        <pc:spChg chg="add mod">
          <ac:chgData name="Bittner, Bodowin Silvester" userId="7336ac58-4196-4884-88d1-0dfe9a9e63cc" providerId="ADAL" clId="{EF851D9D-8985-41D7-9F7A-DB5DF06E4443}" dt="2024-04-12T08:50:20.544" v="1055" actId="20577"/>
          <ac:spMkLst>
            <pc:docMk/>
            <pc:sldMk cId="603109729" sldId="276"/>
            <ac:spMk id="13" creationId="{18026492-12A4-6341-761D-9B347A809AFE}"/>
          </ac:spMkLst>
        </pc:spChg>
        <pc:spChg chg="add mod">
          <ac:chgData name="Bittner, Bodowin Silvester" userId="7336ac58-4196-4884-88d1-0dfe9a9e63cc" providerId="ADAL" clId="{EF851D9D-8985-41D7-9F7A-DB5DF06E4443}" dt="2024-04-12T08:52:36.340" v="1194" actId="14100"/>
          <ac:spMkLst>
            <pc:docMk/>
            <pc:sldMk cId="603109729" sldId="276"/>
            <ac:spMk id="14" creationId="{573FD1E6-0467-0227-6234-A4F73CEBEC74}"/>
          </ac:spMkLst>
        </pc:spChg>
        <pc:spChg chg="add mod">
          <ac:chgData name="Bittner, Bodowin Silvester" userId="7336ac58-4196-4884-88d1-0dfe9a9e63cc" providerId="ADAL" clId="{EF851D9D-8985-41D7-9F7A-DB5DF06E4443}" dt="2024-04-12T08:50:00.446" v="1024" actId="207"/>
          <ac:spMkLst>
            <pc:docMk/>
            <pc:sldMk cId="603109729" sldId="276"/>
            <ac:spMk id="15" creationId="{494B687B-D5FB-5299-8734-247522A1DAF7}"/>
          </ac:spMkLst>
        </pc:spChg>
        <pc:spChg chg="add mod">
          <ac:chgData name="Bittner, Bodowin Silvester" userId="7336ac58-4196-4884-88d1-0dfe9a9e63cc" providerId="ADAL" clId="{EF851D9D-8985-41D7-9F7A-DB5DF06E4443}" dt="2024-04-12T08:49:29.713" v="1018" actId="207"/>
          <ac:spMkLst>
            <pc:docMk/>
            <pc:sldMk cId="603109729" sldId="276"/>
            <ac:spMk id="16" creationId="{C582FC0C-C220-666C-6B18-11C941CE611E}"/>
          </ac:spMkLst>
        </pc:spChg>
        <pc:spChg chg="add mod">
          <ac:chgData name="Bittner, Bodowin Silvester" userId="7336ac58-4196-4884-88d1-0dfe9a9e63cc" providerId="ADAL" clId="{EF851D9D-8985-41D7-9F7A-DB5DF06E4443}" dt="2024-04-12T08:49:34.304" v="1019" actId="207"/>
          <ac:spMkLst>
            <pc:docMk/>
            <pc:sldMk cId="603109729" sldId="276"/>
            <ac:spMk id="17" creationId="{435BFC66-7062-555A-8446-2A7DB9EBBFBA}"/>
          </ac:spMkLst>
        </pc:spChg>
        <pc:spChg chg="add mod">
          <ac:chgData name="Bittner, Bodowin Silvester" userId="7336ac58-4196-4884-88d1-0dfe9a9e63cc" providerId="ADAL" clId="{EF851D9D-8985-41D7-9F7A-DB5DF06E4443}" dt="2024-04-12T08:49:38.588" v="1020" actId="207"/>
          <ac:spMkLst>
            <pc:docMk/>
            <pc:sldMk cId="603109729" sldId="276"/>
            <ac:spMk id="18" creationId="{CFE386F8-BD92-87DE-92FF-BACF73399399}"/>
          </ac:spMkLst>
        </pc:spChg>
        <pc:spChg chg="add mod">
          <ac:chgData name="Bittner, Bodowin Silvester" userId="7336ac58-4196-4884-88d1-0dfe9a9e63cc" providerId="ADAL" clId="{EF851D9D-8985-41D7-9F7A-DB5DF06E4443}" dt="2024-04-12T08:47:29.455" v="962" actId="1076"/>
          <ac:spMkLst>
            <pc:docMk/>
            <pc:sldMk cId="603109729" sldId="276"/>
            <ac:spMk id="19" creationId="{87E0F107-B94F-1F9A-CE74-8297E3BE2435}"/>
          </ac:spMkLst>
        </pc:spChg>
        <pc:spChg chg="add del mod">
          <ac:chgData name="Bittner, Bodowin Silvester" userId="7336ac58-4196-4884-88d1-0dfe9a9e63cc" providerId="ADAL" clId="{EF851D9D-8985-41D7-9F7A-DB5DF06E4443}" dt="2024-04-12T08:48:10.266" v="1008" actId="478"/>
          <ac:spMkLst>
            <pc:docMk/>
            <pc:sldMk cId="603109729" sldId="276"/>
            <ac:spMk id="20" creationId="{005353DE-035A-6E40-175B-1C941789F068}"/>
          </ac:spMkLst>
        </pc:spChg>
        <pc:spChg chg="add del mod">
          <ac:chgData name="Bittner, Bodowin Silvester" userId="7336ac58-4196-4884-88d1-0dfe9a9e63cc" providerId="ADAL" clId="{EF851D9D-8985-41D7-9F7A-DB5DF06E4443}" dt="2024-04-12T08:47:05.962" v="958" actId="478"/>
          <ac:spMkLst>
            <pc:docMk/>
            <pc:sldMk cId="603109729" sldId="276"/>
            <ac:spMk id="21" creationId="{B98435E4-ED79-2DA8-D71B-C18C5FB55696}"/>
          </ac:spMkLst>
        </pc:spChg>
        <pc:spChg chg="add del mod">
          <ac:chgData name="Bittner, Bodowin Silvester" userId="7336ac58-4196-4884-88d1-0dfe9a9e63cc" providerId="ADAL" clId="{EF851D9D-8985-41D7-9F7A-DB5DF06E4443}" dt="2024-04-12T08:47:05.962" v="958" actId="478"/>
          <ac:spMkLst>
            <pc:docMk/>
            <pc:sldMk cId="603109729" sldId="276"/>
            <ac:spMk id="22" creationId="{86FE9AD4-26E7-04B1-A0A0-15B899C4D467}"/>
          </ac:spMkLst>
        </pc:spChg>
        <pc:spChg chg="add del mod">
          <ac:chgData name="Bittner, Bodowin Silvester" userId="7336ac58-4196-4884-88d1-0dfe9a9e63cc" providerId="ADAL" clId="{EF851D9D-8985-41D7-9F7A-DB5DF06E4443}" dt="2024-04-12T08:47:05.962" v="958" actId="478"/>
          <ac:spMkLst>
            <pc:docMk/>
            <pc:sldMk cId="603109729" sldId="276"/>
            <ac:spMk id="23" creationId="{DC0EABCB-C8D7-D627-9E49-6CD79B0DE4C2}"/>
          </ac:spMkLst>
        </pc:spChg>
        <pc:spChg chg="add mod">
          <ac:chgData name="Bittner, Bodowin Silvester" userId="7336ac58-4196-4884-88d1-0dfe9a9e63cc" providerId="ADAL" clId="{EF851D9D-8985-41D7-9F7A-DB5DF06E4443}" dt="2024-04-12T08:48:06.276" v="1007" actId="20577"/>
          <ac:spMkLst>
            <pc:docMk/>
            <pc:sldMk cId="603109729" sldId="276"/>
            <ac:spMk id="24" creationId="{380EA71C-06E3-78AB-9740-B0D7A2411506}"/>
          </ac:spMkLst>
        </pc:spChg>
        <pc:spChg chg="add mod">
          <ac:chgData name="Bittner, Bodowin Silvester" userId="7336ac58-4196-4884-88d1-0dfe9a9e63cc" providerId="ADAL" clId="{EF851D9D-8985-41D7-9F7A-DB5DF06E4443}" dt="2024-04-12T08:51:18.833" v="1083" actId="113"/>
          <ac:spMkLst>
            <pc:docMk/>
            <pc:sldMk cId="603109729" sldId="276"/>
            <ac:spMk id="31" creationId="{3B730A63-4E3D-6E4B-5747-64F07E011ECB}"/>
          </ac:spMkLst>
        </pc:spChg>
        <pc:spChg chg="add del mod modVis">
          <ac:chgData name="Bittner, Bodowin Silvester" userId="7336ac58-4196-4884-88d1-0dfe9a9e63cc" providerId="ADAL" clId="{EF851D9D-8985-41D7-9F7A-DB5DF06E4443}" dt="2024-04-12T09:15:37.619" v="2427"/>
          <ac:spMkLst>
            <pc:docMk/>
            <pc:sldMk cId="603109729" sldId="276"/>
            <ac:spMk id="32" creationId="{5F0510A0-B21B-5A7C-96B9-36D76B22B4EF}"/>
          </ac:spMkLst>
        </pc:spChg>
        <pc:spChg chg="add del mod modVis">
          <ac:chgData name="Bittner, Bodowin Silvester" userId="7336ac58-4196-4884-88d1-0dfe9a9e63cc" providerId="ADAL" clId="{EF851D9D-8985-41D7-9F7A-DB5DF06E4443}" dt="2024-04-12T09:15:38.037" v="2456"/>
          <ac:spMkLst>
            <pc:docMk/>
            <pc:sldMk cId="603109729" sldId="276"/>
            <ac:spMk id="33" creationId="{9DF82B73-9A73-C524-870F-5295F8270099}"/>
          </ac:spMkLst>
        </pc:spChg>
        <pc:spChg chg="add del mod modVis">
          <ac:chgData name="Bittner, Bodowin Silvester" userId="7336ac58-4196-4884-88d1-0dfe9a9e63cc" providerId="ADAL" clId="{EF851D9D-8985-41D7-9F7A-DB5DF06E4443}" dt="2024-04-12T09:15:40.373" v="2510"/>
          <ac:spMkLst>
            <pc:docMk/>
            <pc:sldMk cId="603109729" sldId="276"/>
            <ac:spMk id="34" creationId="{E9F900B1-4FEC-C1DA-70C4-A1DB99A467DB}"/>
          </ac:spMkLst>
        </pc:spChg>
        <pc:graphicFrameChg chg="add mod ord modVis replST">
          <ac:chgData name="Bittner, Bodowin Silvester" userId="7336ac58-4196-4884-88d1-0dfe9a9e63cc" providerId="ADAL" clId="{EF851D9D-8985-41D7-9F7A-DB5DF06E4443}" dt="2024-04-12T09:15:40.377" v="2512"/>
          <ac:graphicFrameMkLst>
            <pc:docMk/>
            <pc:sldMk cId="603109729" sldId="276"/>
            <ac:graphicFrameMk id="6" creationId="{6916ACFF-483D-AF6B-E316-9AB9DA85A3E1}"/>
          </ac:graphicFrameMkLst>
        </pc:graphicFrameChg>
        <pc:picChg chg="add del mod">
          <ac:chgData name="Bittner, Bodowin Silvester" userId="7336ac58-4196-4884-88d1-0dfe9a9e63cc" providerId="ADAL" clId="{EF851D9D-8985-41D7-9F7A-DB5DF06E4443}" dt="2024-04-12T08:48:43.494" v="1011" actId="478"/>
          <ac:picMkLst>
            <pc:docMk/>
            <pc:sldMk cId="603109729" sldId="276"/>
            <ac:picMk id="25" creationId="{E486C130-318D-2A6B-79E8-9F83A69599EE}"/>
          </ac:picMkLst>
        </pc:picChg>
        <pc:picChg chg="add mod">
          <ac:chgData name="Bittner, Bodowin Silvester" userId="7336ac58-4196-4884-88d1-0dfe9a9e63cc" providerId="ADAL" clId="{EF851D9D-8985-41D7-9F7A-DB5DF06E4443}" dt="2024-04-12T08:48:35.400" v="1009" actId="1076"/>
          <ac:picMkLst>
            <pc:docMk/>
            <pc:sldMk cId="603109729" sldId="276"/>
            <ac:picMk id="26" creationId="{8E00AF02-27CF-6457-5A11-5C34313DF121}"/>
          </ac:picMkLst>
        </pc:picChg>
        <pc:picChg chg="add mod">
          <ac:chgData name="Bittner, Bodowin Silvester" userId="7336ac58-4196-4884-88d1-0dfe9a9e63cc" providerId="ADAL" clId="{EF851D9D-8985-41D7-9F7A-DB5DF06E4443}" dt="2024-04-12T08:48:40.891" v="1010" actId="1076"/>
          <ac:picMkLst>
            <pc:docMk/>
            <pc:sldMk cId="603109729" sldId="276"/>
            <ac:picMk id="27" creationId="{4F884E3D-9862-130D-E506-8F0A84652FDD}"/>
          </ac:picMkLst>
        </pc:picChg>
        <pc:picChg chg="add mod">
          <ac:chgData name="Bittner, Bodowin Silvester" userId="7336ac58-4196-4884-88d1-0dfe9a9e63cc" providerId="ADAL" clId="{EF851D9D-8985-41D7-9F7A-DB5DF06E4443}" dt="2024-04-12T08:49:23.992" v="1017" actId="207"/>
          <ac:picMkLst>
            <pc:docMk/>
            <pc:sldMk cId="603109729" sldId="276"/>
            <ac:picMk id="29" creationId="{03AF4124-FC88-7EB8-8F31-2DF05036D5A4}"/>
          </ac:picMkLst>
        </pc:picChg>
      </pc:sldChg>
      <pc:sldChg chg="addSp delSp modSp new mod">
        <pc:chgData name="Bittner, Bodowin Silvester" userId="7336ac58-4196-4884-88d1-0dfe9a9e63cc" providerId="ADAL" clId="{EF851D9D-8985-41D7-9F7A-DB5DF06E4443}" dt="2024-04-12T09:15:17.879" v="2397" actId="1582"/>
        <pc:sldMkLst>
          <pc:docMk/>
          <pc:sldMk cId="1908447501" sldId="277"/>
        </pc:sldMkLst>
        <pc:spChg chg="mod">
          <ac:chgData name="Bittner, Bodowin Silvester" userId="7336ac58-4196-4884-88d1-0dfe9a9e63cc" providerId="ADAL" clId="{EF851D9D-8985-41D7-9F7A-DB5DF06E4443}" dt="2024-04-12T09:12:50.385" v="2347" actId="948"/>
          <ac:spMkLst>
            <pc:docMk/>
            <pc:sldMk cId="1908447501" sldId="277"/>
            <ac:spMk id="2" creationId="{ABA8EC75-D214-A0A7-D312-25E89EF07690}"/>
          </ac:spMkLst>
        </pc:spChg>
        <pc:spChg chg="del">
          <ac:chgData name="Bittner, Bodowin Silvester" userId="7336ac58-4196-4884-88d1-0dfe9a9e63cc" providerId="ADAL" clId="{EF851D9D-8985-41D7-9F7A-DB5DF06E4443}" dt="2024-04-12T09:09:29.698" v="1859" actId="478"/>
          <ac:spMkLst>
            <pc:docMk/>
            <pc:sldMk cId="1908447501" sldId="277"/>
            <ac:spMk id="3" creationId="{41B0FF81-F67B-0EA3-6325-6D7F263353B0}"/>
          </ac:spMkLst>
        </pc:spChg>
        <pc:spChg chg="add mod">
          <ac:chgData name="Bittner, Bodowin Silvester" userId="7336ac58-4196-4884-88d1-0dfe9a9e63cc" providerId="ADAL" clId="{EF851D9D-8985-41D7-9F7A-DB5DF06E4443}" dt="2024-04-12T09:09:32.056" v="1861" actId="164"/>
          <ac:spMkLst>
            <pc:docMk/>
            <pc:sldMk cId="1908447501" sldId="277"/>
            <ac:spMk id="7" creationId="{EB9700B3-4985-027B-4CF4-46E952A56EA3}"/>
          </ac:spMkLst>
        </pc:spChg>
        <pc:spChg chg="add mod">
          <ac:chgData name="Bittner, Bodowin Silvester" userId="7336ac58-4196-4884-88d1-0dfe9a9e63cc" providerId="ADAL" clId="{EF851D9D-8985-41D7-9F7A-DB5DF06E4443}" dt="2024-04-12T09:09:32.056" v="1861" actId="164"/>
          <ac:spMkLst>
            <pc:docMk/>
            <pc:sldMk cId="1908447501" sldId="277"/>
            <ac:spMk id="8" creationId="{106D6E36-0253-5FC3-2712-7F9907FD03EB}"/>
          </ac:spMkLst>
        </pc:spChg>
        <pc:spChg chg="add mod">
          <ac:chgData name="Bittner, Bodowin Silvester" userId="7336ac58-4196-4884-88d1-0dfe9a9e63cc" providerId="ADAL" clId="{EF851D9D-8985-41D7-9F7A-DB5DF06E4443}" dt="2024-04-12T09:15:00.611" v="2396" actId="208"/>
          <ac:spMkLst>
            <pc:docMk/>
            <pc:sldMk cId="1908447501" sldId="277"/>
            <ac:spMk id="9" creationId="{72689B19-D2FB-BCB5-2053-970C4A4A179C}"/>
          </ac:spMkLst>
        </pc:spChg>
        <pc:spChg chg="add mod">
          <ac:chgData name="Bittner, Bodowin Silvester" userId="7336ac58-4196-4884-88d1-0dfe9a9e63cc" providerId="ADAL" clId="{EF851D9D-8985-41D7-9F7A-DB5DF06E4443}" dt="2024-04-12T09:09:32.056" v="1861" actId="164"/>
          <ac:spMkLst>
            <pc:docMk/>
            <pc:sldMk cId="1908447501" sldId="277"/>
            <ac:spMk id="10" creationId="{28FF551A-09B1-EE38-55E0-5A54ECE3A371}"/>
          </ac:spMkLst>
        </pc:spChg>
        <pc:spChg chg="add mod">
          <ac:chgData name="Bittner, Bodowin Silvester" userId="7336ac58-4196-4884-88d1-0dfe9a9e63cc" providerId="ADAL" clId="{EF851D9D-8985-41D7-9F7A-DB5DF06E4443}" dt="2024-04-12T09:10:08.915" v="1933" actId="20577"/>
          <ac:spMkLst>
            <pc:docMk/>
            <pc:sldMk cId="1908447501" sldId="277"/>
            <ac:spMk id="13" creationId="{D9182BEA-1093-18CF-100C-0DB8616D5CBA}"/>
          </ac:spMkLst>
        </pc:spChg>
        <pc:spChg chg="add mod">
          <ac:chgData name="Bittner, Bodowin Silvester" userId="7336ac58-4196-4884-88d1-0dfe9a9e63cc" providerId="ADAL" clId="{EF851D9D-8985-41D7-9F7A-DB5DF06E4443}" dt="2024-04-12T09:09:53.496" v="1877" actId="20577"/>
          <ac:spMkLst>
            <pc:docMk/>
            <pc:sldMk cId="1908447501" sldId="277"/>
            <ac:spMk id="14" creationId="{CD413998-DE87-447F-E635-3D05A7A37D14}"/>
          </ac:spMkLst>
        </pc:spChg>
        <pc:spChg chg="add mod">
          <ac:chgData name="Bittner, Bodowin Silvester" userId="7336ac58-4196-4884-88d1-0dfe9a9e63cc" providerId="ADAL" clId="{EF851D9D-8985-41D7-9F7A-DB5DF06E4443}" dt="2024-04-12T09:12:04.374" v="2142" actId="20577"/>
          <ac:spMkLst>
            <pc:docMk/>
            <pc:sldMk cId="1908447501" sldId="277"/>
            <ac:spMk id="16" creationId="{6DB46F91-F034-8FC2-C4D2-8B74B05C5A6E}"/>
          </ac:spMkLst>
        </pc:spChg>
        <pc:spChg chg="add mod">
          <ac:chgData name="Bittner, Bodowin Silvester" userId="7336ac58-4196-4884-88d1-0dfe9a9e63cc" providerId="ADAL" clId="{EF851D9D-8985-41D7-9F7A-DB5DF06E4443}" dt="2024-04-12T09:11:55.777" v="2116" actId="20577"/>
          <ac:spMkLst>
            <pc:docMk/>
            <pc:sldMk cId="1908447501" sldId="277"/>
            <ac:spMk id="17" creationId="{0F902480-0601-59F9-1BC1-BB8F448EA113}"/>
          </ac:spMkLst>
        </pc:spChg>
        <pc:spChg chg="add mod">
          <ac:chgData name="Bittner, Bodowin Silvester" userId="7336ac58-4196-4884-88d1-0dfe9a9e63cc" providerId="ADAL" clId="{EF851D9D-8985-41D7-9F7A-DB5DF06E4443}" dt="2024-04-12T09:11:10.692" v="2003" actId="14100"/>
          <ac:spMkLst>
            <pc:docMk/>
            <pc:sldMk cId="1908447501" sldId="277"/>
            <ac:spMk id="19" creationId="{CEC137EC-6275-814C-3EC2-1298CA22A584}"/>
          </ac:spMkLst>
        </pc:spChg>
        <pc:spChg chg="add mod">
          <ac:chgData name="Bittner, Bodowin Silvester" userId="7336ac58-4196-4884-88d1-0dfe9a9e63cc" providerId="ADAL" clId="{EF851D9D-8985-41D7-9F7A-DB5DF06E4443}" dt="2024-04-12T09:11:48.642" v="2101" actId="20577"/>
          <ac:spMkLst>
            <pc:docMk/>
            <pc:sldMk cId="1908447501" sldId="277"/>
            <ac:spMk id="21" creationId="{EE53985A-6EC7-9240-FCEE-002E463186A2}"/>
          </ac:spMkLst>
        </pc:spChg>
        <pc:spChg chg="add mod">
          <ac:chgData name="Bittner, Bodowin Silvester" userId="7336ac58-4196-4884-88d1-0dfe9a9e63cc" providerId="ADAL" clId="{EF851D9D-8985-41D7-9F7A-DB5DF06E4443}" dt="2024-04-12T09:11:39.172" v="2063" actId="6549"/>
          <ac:spMkLst>
            <pc:docMk/>
            <pc:sldMk cId="1908447501" sldId="277"/>
            <ac:spMk id="22" creationId="{1F50F6BD-9B93-3AF2-8545-F6AB059056AF}"/>
          </ac:spMkLst>
        </pc:spChg>
        <pc:spChg chg="add mod">
          <ac:chgData name="Bittner, Bodowin Silvester" userId="7336ac58-4196-4884-88d1-0dfe9a9e63cc" providerId="ADAL" clId="{EF851D9D-8985-41D7-9F7A-DB5DF06E4443}" dt="2024-04-12T09:11:20.591" v="2036" actId="20577"/>
          <ac:spMkLst>
            <pc:docMk/>
            <pc:sldMk cId="1908447501" sldId="277"/>
            <ac:spMk id="24" creationId="{0B782F2B-C265-AA2E-7D9D-C2190F9757EB}"/>
          </ac:spMkLst>
        </pc:spChg>
        <pc:spChg chg="add mod">
          <ac:chgData name="Bittner, Bodowin Silvester" userId="7336ac58-4196-4884-88d1-0dfe9a9e63cc" providerId="ADAL" clId="{EF851D9D-8985-41D7-9F7A-DB5DF06E4443}" dt="2024-04-12T09:10:43.801" v="1999" actId="20577"/>
          <ac:spMkLst>
            <pc:docMk/>
            <pc:sldMk cId="1908447501" sldId="277"/>
            <ac:spMk id="30" creationId="{0DEFEAA9-0215-38E6-7A22-C9E3B0AB0765}"/>
          </ac:spMkLst>
        </pc:spChg>
        <pc:spChg chg="add mod">
          <ac:chgData name="Bittner, Bodowin Silvester" userId="7336ac58-4196-4884-88d1-0dfe9a9e63cc" providerId="ADAL" clId="{EF851D9D-8985-41D7-9F7A-DB5DF06E4443}" dt="2024-04-12T09:10:34.997" v="1965" actId="20577"/>
          <ac:spMkLst>
            <pc:docMk/>
            <pc:sldMk cId="1908447501" sldId="277"/>
            <ac:spMk id="31" creationId="{23DC480D-0C78-43B5-6279-8D33216E44EE}"/>
          </ac:spMkLst>
        </pc:spChg>
        <pc:spChg chg="mod">
          <ac:chgData name="Bittner, Bodowin Silvester" userId="7336ac58-4196-4884-88d1-0dfe9a9e63cc" providerId="ADAL" clId="{EF851D9D-8985-41D7-9F7A-DB5DF06E4443}" dt="2024-04-12T09:09:30.429" v="1860"/>
          <ac:spMkLst>
            <pc:docMk/>
            <pc:sldMk cId="1908447501" sldId="277"/>
            <ac:spMk id="34" creationId="{C6E6F39A-1441-663C-757A-925FE0044242}"/>
          </ac:spMkLst>
        </pc:spChg>
        <pc:spChg chg="add del mod modVis">
          <ac:chgData name="Bittner, Bodowin Silvester" userId="7336ac58-4196-4884-88d1-0dfe9a9e63cc" providerId="ADAL" clId="{EF851D9D-8985-41D7-9F7A-DB5DF06E4443}" dt="2024-04-12T09:12:28.736" v="2203"/>
          <ac:spMkLst>
            <pc:docMk/>
            <pc:sldMk cId="1908447501" sldId="277"/>
            <ac:spMk id="37" creationId="{4F6F5A0D-39B2-0AD6-B11B-CF8423918BF5}"/>
          </ac:spMkLst>
        </pc:spChg>
        <pc:spChg chg="add del mod modVis">
          <ac:chgData name="Bittner, Bodowin Silvester" userId="7336ac58-4196-4884-88d1-0dfe9a9e63cc" providerId="ADAL" clId="{EF851D9D-8985-41D7-9F7A-DB5DF06E4443}" dt="2024-04-12T09:12:31.001" v="2233"/>
          <ac:spMkLst>
            <pc:docMk/>
            <pc:sldMk cId="1908447501" sldId="277"/>
            <ac:spMk id="38" creationId="{7723F756-153A-3B54-3332-7299CF07B1B1}"/>
          </ac:spMkLst>
        </pc:spChg>
        <pc:spChg chg="add del mod modVis">
          <ac:chgData name="Bittner, Bodowin Silvester" userId="7336ac58-4196-4884-88d1-0dfe9a9e63cc" providerId="ADAL" clId="{EF851D9D-8985-41D7-9F7A-DB5DF06E4443}" dt="2024-04-12T09:12:32.267" v="2265"/>
          <ac:spMkLst>
            <pc:docMk/>
            <pc:sldMk cId="1908447501" sldId="277"/>
            <ac:spMk id="39" creationId="{9B0A0451-ECA3-5DA1-2AA9-948910DB9D9F}"/>
          </ac:spMkLst>
        </pc:spChg>
        <pc:spChg chg="add del mod modVis">
          <ac:chgData name="Bittner, Bodowin Silvester" userId="7336ac58-4196-4884-88d1-0dfe9a9e63cc" providerId="ADAL" clId="{EF851D9D-8985-41D7-9F7A-DB5DF06E4443}" dt="2024-04-12T09:12:43.796" v="2307"/>
          <ac:spMkLst>
            <pc:docMk/>
            <pc:sldMk cId="1908447501" sldId="277"/>
            <ac:spMk id="40" creationId="{CB2AFC6B-7B1A-6087-7DFC-A1A42D2E9CEA}"/>
          </ac:spMkLst>
        </pc:spChg>
        <pc:spChg chg="add del mod modVis">
          <ac:chgData name="Bittner, Bodowin Silvester" userId="7336ac58-4196-4884-88d1-0dfe9a9e63cc" providerId="ADAL" clId="{EF851D9D-8985-41D7-9F7A-DB5DF06E4443}" dt="2024-04-12T09:12:50.436" v="2371"/>
          <ac:spMkLst>
            <pc:docMk/>
            <pc:sldMk cId="1908447501" sldId="277"/>
            <ac:spMk id="41" creationId="{BA20E6A9-0AB9-1B7A-E710-800E67581D5A}"/>
          </ac:spMkLst>
        </pc:spChg>
        <pc:grpChg chg="add mod">
          <ac:chgData name="Bittner, Bodowin Silvester" userId="7336ac58-4196-4884-88d1-0dfe9a9e63cc" providerId="ADAL" clId="{EF851D9D-8985-41D7-9F7A-DB5DF06E4443}" dt="2024-04-12T09:09:32.056" v="1861" actId="164"/>
          <ac:grpSpMkLst>
            <pc:docMk/>
            <pc:sldMk cId="1908447501" sldId="277"/>
            <ac:grpSpMk id="33" creationId="{C4CA7FD0-9B06-0355-9F36-4317670A96E4}"/>
          </ac:grpSpMkLst>
        </pc:grpChg>
        <pc:grpChg chg="add mod">
          <ac:chgData name="Bittner, Bodowin Silvester" userId="7336ac58-4196-4884-88d1-0dfe9a9e63cc" providerId="ADAL" clId="{EF851D9D-8985-41D7-9F7A-DB5DF06E4443}" dt="2024-04-12T09:12:39.014" v="2268" actId="1076"/>
          <ac:grpSpMkLst>
            <pc:docMk/>
            <pc:sldMk cId="1908447501" sldId="277"/>
            <ac:grpSpMk id="36" creationId="{91CB0829-1F03-F6A7-F1C7-6D115BF7A469}"/>
          </ac:grpSpMkLst>
        </pc:grpChg>
        <pc:graphicFrameChg chg="add mod ord modVis replST">
          <ac:chgData name="Bittner, Bodowin Silvester" userId="7336ac58-4196-4884-88d1-0dfe9a9e63cc" providerId="ADAL" clId="{EF851D9D-8985-41D7-9F7A-DB5DF06E4443}" dt="2024-04-12T09:12:50.440" v="2373"/>
          <ac:graphicFrameMkLst>
            <pc:docMk/>
            <pc:sldMk cId="1908447501" sldId="277"/>
            <ac:graphicFrameMk id="6" creationId="{5BEF69E4-20A0-0D6A-1DDE-C05D67359EDA}"/>
          </ac:graphicFrameMkLst>
        </pc:graphicFrameChg>
        <pc:picChg chg="add del mod">
          <ac:chgData name="Bittner, Bodowin Silvester" userId="7336ac58-4196-4884-88d1-0dfe9a9e63cc" providerId="ADAL" clId="{EF851D9D-8985-41D7-9F7A-DB5DF06E4443}" dt="2024-04-12T09:10:57.082" v="2002" actId="478"/>
          <ac:picMkLst>
            <pc:docMk/>
            <pc:sldMk cId="1908447501" sldId="277"/>
            <ac:picMk id="25" creationId="{EF0D83B3-D8FA-D775-061F-035F8B252630}"/>
          </ac:picMkLst>
        </pc:picChg>
        <pc:picChg chg="add mod">
          <ac:chgData name="Bittner, Bodowin Silvester" userId="7336ac58-4196-4884-88d1-0dfe9a9e63cc" providerId="ADAL" clId="{EF851D9D-8985-41D7-9F7A-DB5DF06E4443}" dt="2024-04-12T09:10:54.833" v="2001" actId="1076"/>
          <ac:picMkLst>
            <pc:docMk/>
            <pc:sldMk cId="1908447501" sldId="277"/>
            <ac:picMk id="26" creationId="{7B8B0102-077E-455B-8C33-8A8579ECD840}"/>
          </ac:picMkLst>
        </pc:picChg>
        <pc:picChg chg="add mod">
          <ac:chgData name="Bittner, Bodowin Silvester" userId="7336ac58-4196-4884-88d1-0dfe9a9e63cc" providerId="ADAL" clId="{EF851D9D-8985-41D7-9F7A-DB5DF06E4443}" dt="2024-04-12T09:09:32.056" v="1861" actId="164"/>
          <ac:picMkLst>
            <pc:docMk/>
            <pc:sldMk cId="1908447501" sldId="277"/>
            <ac:picMk id="27" creationId="{FA9521D3-84C4-0FEB-6D60-8237C4F1AD40}"/>
          </ac:picMkLst>
        </pc:picChg>
        <pc:picChg chg="add del mod">
          <ac:chgData name="Bittner, Bodowin Silvester" userId="7336ac58-4196-4884-88d1-0dfe9a9e63cc" providerId="ADAL" clId="{EF851D9D-8985-41D7-9F7A-DB5DF06E4443}" dt="2024-04-12T09:10:49.527" v="2000" actId="478"/>
          <ac:picMkLst>
            <pc:docMk/>
            <pc:sldMk cId="1908447501" sldId="277"/>
            <ac:picMk id="28" creationId="{35856845-A4C0-63BE-1197-02A57ED4F36B}"/>
          </ac:picMkLst>
        </pc:picChg>
        <pc:picChg chg="mod">
          <ac:chgData name="Bittner, Bodowin Silvester" userId="7336ac58-4196-4884-88d1-0dfe9a9e63cc" providerId="ADAL" clId="{EF851D9D-8985-41D7-9F7A-DB5DF06E4443}" dt="2024-04-12T09:09:30.429" v="1860"/>
          <ac:picMkLst>
            <pc:docMk/>
            <pc:sldMk cId="1908447501" sldId="277"/>
            <ac:picMk id="35" creationId="{1601D188-7F2C-319D-25FC-DB18A27603A4}"/>
          </ac:picMkLst>
        </pc:picChg>
        <pc:picChg chg="add mod">
          <ac:chgData name="Bittner, Bodowin Silvester" userId="7336ac58-4196-4884-88d1-0dfe9a9e63cc" providerId="ADAL" clId="{EF851D9D-8985-41D7-9F7A-DB5DF06E4443}" dt="2024-04-12T09:13:40.345" v="2381" actId="1076"/>
          <ac:picMkLst>
            <pc:docMk/>
            <pc:sldMk cId="1908447501" sldId="277"/>
            <ac:picMk id="43" creationId="{79988591-B208-6347-E2C5-4F2CF52C4690}"/>
          </ac:picMkLst>
        </pc:picChg>
        <pc:picChg chg="add mod">
          <ac:chgData name="Bittner, Bodowin Silvester" userId="7336ac58-4196-4884-88d1-0dfe9a9e63cc" providerId="ADAL" clId="{EF851D9D-8985-41D7-9F7A-DB5DF06E4443}" dt="2024-04-12T09:13:31.574" v="2378" actId="1076"/>
          <ac:picMkLst>
            <pc:docMk/>
            <pc:sldMk cId="1908447501" sldId="277"/>
            <ac:picMk id="45" creationId="{B3D7A486-B536-F541-0DFE-A0D378E3B873}"/>
          </ac:picMkLst>
        </pc:picChg>
        <pc:cxnChg chg="add mod">
          <ac:chgData name="Bittner, Bodowin Silvester" userId="7336ac58-4196-4884-88d1-0dfe9a9e63cc" providerId="ADAL" clId="{EF851D9D-8985-41D7-9F7A-DB5DF06E4443}" dt="2024-04-12T09:09:32.056" v="1861" actId="164"/>
          <ac:cxnSpMkLst>
            <pc:docMk/>
            <pc:sldMk cId="1908447501" sldId="277"/>
            <ac:cxnSpMk id="11" creationId="{44D06E02-BB82-9FDD-EFBE-07481F618F8C}"/>
          </ac:cxnSpMkLst>
        </pc:cxnChg>
        <pc:cxnChg chg="add mod">
          <ac:chgData name="Bittner, Bodowin Silvester" userId="7336ac58-4196-4884-88d1-0dfe9a9e63cc" providerId="ADAL" clId="{EF851D9D-8985-41D7-9F7A-DB5DF06E4443}" dt="2024-04-12T09:09:32.056" v="1861" actId="164"/>
          <ac:cxnSpMkLst>
            <pc:docMk/>
            <pc:sldMk cId="1908447501" sldId="277"/>
            <ac:cxnSpMk id="12" creationId="{A003E013-9DCD-EDD8-85C2-228151AA7D26}"/>
          </ac:cxnSpMkLst>
        </pc:cxnChg>
        <pc:cxnChg chg="add mod">
          <ac:chgData name="Bittner, Bodowin Silvester" userId="7336ac58-4196-4884-88d1-0dfe9a9e63cc" providerId="ADAL" clId="{EF851D9D-8985-41D7-9F7A-DB5DF06E4443}" dt="2024-04-12T09:09:32.056" v="1861" actId="164"/>
          <ac:cxnSpMkLst>
            <pc:docMk/>
            <pc:sldMk cId="1908447501" sldId="277"/>
            <ac:cxnSpMk id="15" creationId="{CF9B7A61-CCE2-3CC0-590C-8B7ECFABD829}"/>
          </ac:cxnSpMkLst>
        </pc:cxnChg>
        <pc:cxnChg chg="add mod">
          <ac:chgData name="Bittner, Bodowin Silvester" userId="7336ac58-4196-4884-88d1-0dfe9a9e63cc" providerId="ADAL" clId="{EF851D9D-8985-41D7-9F7A-DB5DF06E4443}" dt="2024-04-12T09:09:32.056" v="1861" actId="164"/>
          <ac:cxnSpMkLst>
            <pc:docMk/>
            <pc:sldMk cId="1908447501" sldId="277"/>
            <ac:cxnSpMk id="18" creationId="{4CEB3749-1185-55D9-277A-49097EB3835A}"/>
          </ac:cxnSpMkLst>
        </pc:cxnChg>
        <pc:cxnChg chg="add mod">
          <ac:chgData name="Bittner, Bodowin Silvester" userId="7336ac58-4196-4884-88d1-0dfe9a9e63cc" providerId="ADAL" clId="{EF851D9D-8985-41D7-9F7A-DB5DF06E4443}" dt="2024-04-12T09:09:32.056" v="1861" actId="164"/>
          <ac:cxnSpMkLst>
            <pc:docMk/>
            <pc:sldMk cId="1908447501" sldId="277"/>
            <ac:cxnSpMk id="20" creationId="{2DE2D81D-B883-F485-A006-DD864BC20FB8}"/>
          </ac:cxnSpMkLst>
        </pc:cxnChg>
        <pc:cxnChg chg="add mod">
          <ac:chgData name="Bittner, Bodowin Silvester" userId="7336ac58-4196-4884-88d1-0dfe9a9e63cc" providerId="ADAL" clId="{EF851D9D-8985-41D7-9F7A-DB5DF06E4443}" dt="2024-04-12T09:09:32.056" v="1861" actId="164"/>
          <ac:cxnSpMkLst>
            <pc:docMk/>
            <pc:sldMk cId="1908447501" sldId="277"/>
            <ac:cxnSpMk id="23" creationId="{302EB86E-1EB0-F331-19EA-4A89E4CF3E8D}"/>
          </ac:cxnSpMkLst>
        </pc:cxnChg>
        <pc:cxnChg chg="add mod">
          <ac:chgData name="Bittner, Bodowin Silvester" userId="7336ac58-4196-4884-88d1-0dfe9a9e63cc" providerId="ADAL" clId="{EF851D9D-8985-41D7-9F7A-DB5DF06E4443}" dt="2024-04-12T09:09:32.056" v="1861" actId="164"/>
          <ac:cxnSpMkLst>
            <pc:docMk/>
            <pc:sldMk cId="1908447501" sldId="277"/>
            <ac:cxnSpMk id="29" creationId="{2284330B-73E5-6F08-7BBD-6DF2BF269644}"/>
          </ac:cxnSpMkLst>
        </pc:cxnChg>
        <pc:cxnChg chg="add mod">
          <ac:chgData name="Bittner, Bodowin Silvester" userId="7336ac58-4196-4884-88d1-0dfe9a9e63cc" providerId="ADAL" clId="{EF851D9D-8985-41D7-9F7A-DB5DF06E4443}" dt="2024-04-12T09:09:32.056" v="1861" actId="164"/>
          <ac:cxnSpMkLst>
            <pc:docMk/>
            <pc:sldMk cId="1908447501" sldId="277"/>
            <ac:cxnSpMk id="32" creationId="{42775BEA-C81D-EBBD-0246-0E9CC9A00292}"/>
          </ac:cxnSpMkLst>
        </pc:cxnChg>
        <pc:cxnChg chg="add mod">
          <ac:chgData name="Bittner, Bodowin Silvester" userId="7336ac58-4196-4884-88d1-0dfe9a9e63cc" providerId="ADAL" clId="{EF851D9D-8985-41D7-9F7A-DB5DF06E4443}" dt="2024-04-12T09:15:17.879" v="2397" actId="1582"/>
          <ac:cxnSpMkLst>
            <pc:docMk/>
            <pc:sldMk cId="1908447501" sldId="277"/>
            <ac:cxnSpMk id="47" creationId="{AE0BC394-F534-D319-51C7-D48C60CD55B0}"/>
          </ac:cxnSpMkLst>
        </pc:cxnChg>
        <pc:cxnChg chg="add mod">
          <ac:chgData name="Bittner, Bodowin Silvester" userId="7336ac58-4196-4884-88d1-0dfe9a9e63cc" providerId="ADAL" clId="{EF851D9D-8985-41D7-9F7A-DB5DF06E4443}" dt="2024-04-12T09:15:17.879" v="2397" actId="1582"/>
          <ac:cxnSpMkLst>
            <pc:docMk/>
            <pc:sldMk cId="1908447501" sldId="277"/>
            <ac:cxnSpMk id="51" creationId="{250FEF28-4B72-CC25-7C51-9A69F9686AAB}"/>
          </ac:cxnSpMkLst>
        </pc:cxnChg>
        <pc:cxnChg chg="add mod">
          <ac:chgData name="Bittner, Bodowin Silvester" userId="7336ac58-4196-4884-88d1-0dfe9a9e63cc" providerId="ADAL" clId="{EF851D9D-8985-41D7-9F7A-DB5DF06E4443}" dt="2024-04-12T09:15:17.879" v="2397" actId="1582"/>
          <ac:cxnSpMkLst>
            <pc:docMk/>
            <pc:sldMk cId="1908447501" sldId="277"/>
            <ac:cxnSpMk id="55" creationId="{E88612A3-4D86-CD83-7BDA-45F7712DE38A}"/>
          </ac:cxnSpMkLst>
        </pc:cxnChg>
        <pc:cxnChg chg="add mod">
          <ac:chgData name="Bittner, Bodowin Silvester" userId="7336ac58-4196-4884-88d1-0dfe9a9e63cc" providerId="ADAL" clId="{EF851D9D-8985-41D7-9F7A-DB5DF06E4443}" dt="2024-04-12T09:15:17.879" v="2397" actId="1582"/>
          <ac:cxnSpMkLst>
            <pc:docMk/>
            <pc:sldMk cId="1908447501" sldId="277"/>
            <ac:cxnSpMk id="56" creationId="{301B508E-44B5-ADFC-10EE-78F0BE1424CF}"/>
          </ac:cxnSpMkLst>
        </pc:cxnChg>
      </pc:sldChg>
      <pc:sldChg chg="addSp delSp modSp new mod">
        <pc:chgData name="Bittner, Bodowin Silvester" userId="7336ac58-4196-4884-88d1-0dfe9a9e63cc" providerId="ADAL" clId="{EF851D9D-8985-41D7-9F7A-DB5DF06E4443}" dt="2024-04-12T09:25:27.768" v="3096" actId="14100"/>
        <pc:sldMkLst>
          <pc:docMk/>
          <pc:sldMk cId="1761803385" sldId="278"/>
        </pc:sldMkLst>
        <pc:spChg chg="mod ord">
          <ac:chgData name="Bittner, Bodowin Silvester" userId="7336ac58-4196-4884-88d1-0dfe9a9e63cc" providerId="ADAL" clId="{EF851D9D-8985-41D7-9F7A-DB5DF06E4443}" dt="2024-04-12T09:23:17.855" v="3043"/>
          <ac:spMkLst>
            <pc:docMk/>
            <pc:sldMk cId="1761803385" sldId="278"/>
            <ac:spMk id="2" creationId="{FE7409E0-862B-34B0-0FF6-B483C7E2646E}"/>
          </ac:spMkLst>
        </pc:spChg>
        <pc:spChg chg="del">
          <ac:chgData name="Bittner, Bodowin Silvester" userId="7336ac58-4196-4884-88d1-0dfe9a9e63cc" providerId="ADAL" clId="{EF851D9D-8985-41D7-9F7A-DB5DF06E4443}" dt="2024-04-12T09:20:59.690" v="2983" actId="478"/>
          <ac:spMkLst>
            <pc:docMk/>
            <pc:sldMk cId="1761803385" sldId="278"/>
            <ac:spMk id="3" creationId="{323DC67E-0043-2B23-E736-9624603993D1}"/>
          </ac:spMkLst>
        </pc:spChg>
        <pc:spChg chg="mod ord">
          <ac:chgData name="Bittner, Bodowin Silvester" userId="7336ac58-4196-4884-88d1-0dfe9a9e63cc" providerId="ADAL" clId="{EF851D9D-8985-41D7-9F7A-DB5DF06E4443}" dt="2024-04-12T09:23:17.857" v="3045"/>
          <ac:spMkLst>
            <pc:docMk/>
            <pc:sldMk cId="1761803385" sldId="278"/>
            <ac:spMk id="4" creationId="{7C1AED4E-EE89-5234-A7BD-C1858D4933BB}"/>
          </ac:spMkLst>
        </pc:spChg>
        <pc:spChg chg="mod ord">
          <ac:chgData name="Bittner, Bodowin Silvester" userId="7336ac58-4196-4884-88d1-0dfe9a9e63cc" providerId="ADAL" clId="{EF851D9D-8985-41D7-9F7A-DB5DF06E4443}" dt="2024-04-12T09:23:17.858" v="3047"/>
          <ac:spMkLst>
            <pc:docMk/>
            <pc:sldMk cId="1761803385" sldId="278"/>
            <ac:spMk id="5" creationId="{FA333CD7-C1CF-0E96-5FD2-687B391F7332}"/>
          </ac:spMkLst>
        </pc:spChg>
        <pc:spChg chg="add del mod modVis">
          <ac:chgData name="Bittner, Bodowin Silvester" userId="7336ac58-4196-4884-88d1-0dfe9a9e63cc" providerId="ADAL" clId="{EF851D9D-8985-41D7-9F7A-DB5DF06E4443}" dt="2024-04-12T09:20:38.691" v="2980"/>
          <ac:spMkLst>
            <pc:docMk/>
            <pc:sldMk cId="1761803385" sldId="278"/>
            <ac:spMk id="7" creationId="{053FA6E8-181D-7749-8010-7B94F585DB6A}"/>
          </ac:spMkLst>
        </pc:spChg>
        <pc:spChg chg="add mod ord topLvl">
          <ac:chgData name="Bittner, Bodowin Silvester" userId="7336ac58-4196-4884-88d1-0dfe9a9e63cc" providerId="ADAL" clId="{EF851D9D-8985-41D7-9F7A-DB5DF06E4443}" dt="2024-04-12T09:23:17.862" v="3051"/>
          <ac:spMkLst>
            <pc:docMk/>
            <pc:sldMk cId="1761803385" sldId="278"/>
            <ac:spMk id="9" creationId="{9604B6A8-0EDC-2861-0B97-E9620930A305}"/>
          </ac:spMkLst>
        </pc:spChg>
        <pc:spChg chg="add del mod topLvl">
          <ac:chgData name="Bittner, Bodowin Silvester" userId="7336ac58-4196-4884-88d1-0dfe9a9e63cc" providerId="ADAL" clId="{EF851D9D-8985-41D7-9F7A-DB5DF06E4443}" dt="2024-04-12T09:22:36.274" v="3033" actId="478"/>
          <ac:spMkLst>
            <pc:docMk/>
            <pc:sldMk cId="1761803385" sldId="278"/>
            <ac:spMk id="10" creationId="{B9FD4050-E0AC-5092-7DD8-8F7ECF43164C}"/>
          </ac:spMkLst>
        </pc:spChg>
        <pc:spChg chg="add del mod topLvl">
          <ac:chgData name="Bittner, Bodowin Silvester" userId="7336ac58-4196-4884-88d1-0dfe9a9e63cc" providerId="ADAL" clId="{EF851D9D-8985-41D7-9F7A-DB5DF06E4443}" dt="2024-04-12T09:22:45.673" v="3035" actId="478"/>
          <ac:spMkLst>
            <pc:docMk/>
            <pc:sldMk cId="1761803385" sldId="278"/>
            <ac:spMk id="11" creationId="{77338C58-BA25-CFB8-15AC-9EA5BA62015C}"/>
          </ac:spMkLst>
        </pc:spChg>
        <pc:spChg chg="add mod ord topLvl">
          <ac:chgData name="Bittner, Bodowin Silvester" userId="7336ac58-4196-4884-88d1-0dfe9a9e63cc" providerId="ADAL" clId="{EF851D9D-8985-41D7-9F7A-DB5DF06E4443}" dt="2024-04-12T09:23:24.560" v="3074" actId="1076"/>
          <ac:spMkLst>
            <pc:docMk/>
            <pc:sldMk cId="1761803385" sldId="278"/>
            <ac:spMk id="12" creationId="{EA4F8BA9-4A74-B324-7D12-4189B56D7B0E}"/>
          </ac:spMkLst>
        </pc:spChg>
        <pc:spChg chg="add mod ord topLvl">
          <ac:chgData name="Bittner, Bodowin Silvester" userId="7336ac58-4196-4884-88d1-0dfe9a9e63cc" providerId="ADAL" clId="{EF851D9D-8985-41D7-9F7A-DB5DF06E4443}" dt="2024-04-12T09:23:31.996" v="3075" actId="207"/>
          <ac:spMkLst>
            <pc:docMk/>
            <pc:sldMk cId="1761803385" sldId="278"/>
            <ac:spMk id="13" creationId="{E3F54D97-8BF1-C88F-52A4-80B63FD40A10}"/>
          </ac:spMkLst>
        </pc:spChg>
        <pc:spChg chg="add del mod">
          <ac:chgData name="Bittner, Bodowin Silvester" userId="7336ac58-4196-4884-88d1-0dfe9a9e63cc" providerId="ADAL" clId="{EF851D9D-8985-41D7-9F7A-DB5DF06E4443}" dt="2024-04-12T09:21:52.326" v="3027" actId="478"/>
          <ac:spMkLst>
            <pc:docMk/>
            <pc:sldMk cId="1761803385" sldId="278"/>
            <ac:spMk id="14" creationId="{8CDD377D-6AA7-9E5C-1DBC-14C87FC36EDA}"/>
          </ac:spMkLst>
        </pc:spChg>
        <pc:spChg chg="add del mod">
          <ac:chgData name="Bittner, Bodowin Silvester" userId="7336ac58-4196-4884-88d1-0dfe9a9e63cc" providerId="ADAL" clId="{EF851D9D-8985-41D7-9F7A-DB5DF06E4443}" dt="2024-04-12T09:21:47.636" v="3025" actId="478"/>
          <ac:spMkLst>
            <pc:docMk/>
            <pc:sldMk cId="1761803385" sldId="278"/>
            <ac:spMk id="15" creationId="{B0B8FCC9-672C-4466-5ACD-B33EFC984445}"/>
          </ac:spMkLst>
        </pc:spChg>
        <pc:spChg chg="add mod ord topLvl">
          <ac:chgData name="Bittner, Bodowin Silvester" userId="7336ac58-4196-4884-88d1-0dfe9a9e63cc" providerId="ADAL" clId="{EF851D9D-8985-41D7-9F7A-DB5DF06E4443}" dt="2024-04-12T09:23:35.910" v="3076" actId="207"/>
          <ac:spMkLst>
            <pc:docMk/>
            <pc:sldMk cId="1761803385" sldId="278"/>
            <ac:spMk id="16" creationId="{12D24D3C-392B-D581-EBB4-2965BCC38DC5}"/>
          </ac:spMkLst>
        </pc:spChg>
        <pc:spChg chg="add mod ord topLvl">
          <ac:chgData name="Bittner, Bodowin Silvester" userId="7336ac58-4196-4884-88d1-0dfe9a9e63cc" providerId="ADAL" clId="{EF851D9D-8985-41D7-9F7A-DB5DF06E4443}" dt="2024-04-12T09:25:12.266" v="3092" actId="14100"/>
          <ac:spMkLst>
            <pc:docMk/>
            <pc:sldMk cId="1761803385" sldId="278"/>
            <ac:spMk id="17" creationId="{76577358-B334-495D-F23A-098232050794}"/>
          </ac:spMkLst>
        </pc:spChg>
        <pc:spChg chg="add mod ord topLvl">
          <ac:chgData name="Bittner, Bodowin Silvester" userId="7336ac58-4196-4884-88d1-0dfe9a9e63cc" providerId="ADAL" clId="{EF851D9D-8985-41D7-9F7A-DB5DF06E4443}" dt="2024-04-12T09:25:22.957" v="3095" actId="1076"/>
          <ac:spMkLst>
            <pc:docMk/>
            <pc:sldMk cId="1761803385" sldId="278"/>
            <ac:spMk id="18" creationId="{9D5484D0-BD43-8B1D-401A-F0555187A053}"/>
          </ac:spMkLst>
        </pc:spChg>
        <pc:spChg chg="add mod ord topLvl">
          <ac:chgData name="Bittner, Bodowin Silvester" userId="7336ac58-4196-4884-88d1-0dfe9a9e63cc" providerId="ADAL" clId="{EF851D9D-8985-41D7-9F7A-DB5DF06E4443}" dt="2024-04-12T09:25:27.768" v="3096" actId="14100"/>
          <ac:spMkLst>
            <pc:docMk/>
            <pc:sldMk cId="1761803385" sldId="278"/>
            <ac:spMk id="20" creationId="{57F2D805-8798-3743-0114-B91C6871E051}"/>
          </ac:spMkLst>
        </pc:spChg>
        <pc:spChg chg="add mod ord topLvl">
          <ac:chgData name="Bittner, Bodowin Silvester" userId="7336ac58-4196-4884-88d1-0dfe9a9e63cc" providerId="ADAL" clId="{EF851D9D-8985-41D7-9F7A-DB5DF06E4443}" dt="2024-04-12T09:25:18.462" v="3094" actId="1076"/>
          <ac:spMkLst>
            <pc:docMk/>
            <pc:sldMk cId="1761803385" sldId="278"/>
            <ac:spMk id="21" creationId="{5CBB2D05-495C-A590-7561-586EB8B439B7}"/>
          </ac:spMkLst>
        </pc:spChg>
        <pc:spChg chg="add del mod">
          <ac:chgData name="Bittner, Bodowin Silvester" userId="7336ac58-4196-4884-88d1-0dfe9a9e63cc" providerId="ADAL" clId="{EF851D9D-8985-41D7-9F7A-DB5DF06E4443}" dt="2024-04-12T09:21:47.636" v="3025" actId="478"/>
          <ac:spMkLst>
            <pc:docMk/>
            <pc:sldMk cId="1761803385" sldId="278"/>
            <ac:spMk id="23" creationId="{D01E4216-E20F-3EA7-FDB5-8D64D1510B8E}"/>
          </ac:spMkLst>
        </pc:spChg>
        <pc:spChg chg="add del mod">
          <ac:chgData name="Bittner, Bodowin Silvester" userId="7336ac58-4196-4884-88d1-0dfe9a9e63cc" providerId="ADAL" clId="{EF851D9D-8985-41D7-9F7A-DB5DF06E4443}" dt="2024-04-12T09:21:47.636" v="3025" actId="478"/>
          <ac:spMkLst>
            <pc:docMk/>
            <pc:sldMk cId="1761803385" sldId="278"/>
            <ac:spMk id="24" creationId="{94A2E936-D72D-2248-9BEE-78F06D580FF0}"/>
          </ac:spMkLst>
        </pc:spChg>
        <pc:spChg chg="add del mod">
          <ac:chgData name="Bittner, Bodowin Silvester" userId="7336ac58-4196-4884-88d1-0dfe9a9e63cc" providerId="ADAL" clId="{EF851D9D-8985-41D7-9F7A-DB5DF06E4443}" dt="2024-04-12T09:21:56.452" v="3028" actId="478"/>
          <ac:spMkLst>
            <pc:docMk/>
            <pc:sldMk cId="1761803385" sldId="278"/>
            <ac:spMk id="26" creationId="{B1E0FC67-31DD-6592-6E48-C18AC6E0D67D}"/>
          </ac:spMkLst>
        </pc:spChg>
        <pc:spChg chg="add del mod">
          <ac:chgData name="Bittner, Bodowin Silvester" userId="7336ac58-4196-4884-88d1-0dfe9a9e63cc" providerId="ADAL" clId="{EF851D9D-8985-41D7-9F7A-DB5DF06E4443}" dt="2024-04-12T09:21:56.452" v="3028" actId="478"/>
          <ac:spMkLst>
            <pc:docMk/>
            <pc:sldMk cId="1761803385" sldId="278"/>
            <ac:spMk id="27" creationId="{2942132F-BED4-3694-4F86-26B18E39941B}"/>
          </ac:spMkLst>
        </pc:spChg>
        <pc:grpChg chg="add del mod">
          <ac:chgData name="Bittner, Bodowin Silvester" userId="7336ac58-4196-4884-88d1-0dfe9a9e63cc" providerId="ADAL" clId="{EF851D9D-8985-41D7-9F7A-DB5DF06E4443}" dt="2024-04-12T09:22:05.669" v="3029" actId="165"/>
          <ac:grpSpMkLst>
            <pc:docMk/>
            <pc:sldMk cId="1761803385" sldId="278"/>
            <ac:grpSpMk id="29" creationId="{973FBD53-A0A8-8A9A-80F4-5F89E6884FDA}"/>
          </ac:grpSpMkLst>
        </pc:grpChg>
        <pc:graphicFrameChg chg="add mod ord modVis replST">
          <ac:chgData name="Bittner, Bodowin Silvester" userId="7336ac58-4196-4884-88d1-0dfe9a9e63cc" providerId="ADAL" clId="{EF851D9D-8985-41D7-9F7A-DB5DF06E4443}" dt="2024-04-12T09:23:17.880" v="3073"/>
          <ac:graphicFrameMkLst>
            <pc:docMk/>
            <pc:sldMk cId="1761803385" sldId="278"/>
            <ac:graphicFrameMk id="6" creationId="{C61AF305-6200-5D52-69FC-63F901982C2C}"/>
          </ac:graphicFrameMkLst>
        </pc:graphicFrameChg>
        <pc:picChg chg="add mod">
          <ac:chgData name="Bittner, Bodowin Silvester" userId="7336ac58-4196-4884-88d1-0dfe9a9e63cc" providerId="ADAL" clId="{EF851D9D-8985-41D7-9F7A-DB5DF06E4443}" dt="2024-04-12T09:24:30.790" v="3087" actId="1076"/>
          <ac:picMkLst>
            <pc:docMk/>
            <pc:sldMk cId="1761803385" sldId="278"/>
            <ac:picMk id="35" creationId="{83C78A4B-90C7-651A-0CAE-3B96CA32E260}"/>
          </ac:picMkLst>
        </pc:picChg>
        <pc:picChg chg="add mod">
          <ac:chgData name="Bittner, Bodowin Silvester" userId="7336ac58-4196-4884-88d1-0dfe9a9e63cc" providerId="ADAL" clId="{EF851D9D-8985-41D7-9F7A-DB5DF06E4443}" dt="2024-04-12T09:25:03.820" v="3090" actId="207"/>
          <ac:picMkLst>
            <pc:docMk/>
            <pc:sldMk cId="1761803385" sldId="278"/>
            <ac:picMk id="37" creationId="{6E8DE203-75AE-468F-5135-7C89A7DD38DE}"/>
          </ac:picMkLst>
        </pc:picChg>
        <pc:cxnChg chg="add mod ord topLvl">
          <ac:chgData name="Bittner, Bodowin Silvester" userId="7336ac58-4196-4884-88d1-0dfe9a9e63cc" providerId="ADAL" clId="{EF851D9D-8985-41D7-9F7A-DB5DF06E4443}" dt="2024-04-12T09:23:17.860" v="3049"/>
          <ac:cxnSpMkLst>
            <pc:docMk/>
            <pc:sldMk cId="1761803385" sldId="278"/>
            <ac:cxnSpMk id="8" creationId="{6015CC18-BAB5-23DD-8BA8-C2D56C20976C}"/>
          </ac:cxnSpMkLst>
        </pc:cxnChg>
        <pc:cxnChg chg="add mod ord topLvl">
          <ac:chgData name="Bittner, Bodowin Silvester" userId="7336ac58-4196-4884-88d1-0dfe9a9e63cc" providerId="ADAL" clId="{EF851D9D-8985-41D7-9F7A-DB5DF06E4443}" dt="2024-04-12T09:24:07.176" v="3082" actId="208"/>
          <ac:cxnSpMkLst>
            <pc:docMk/>
            <pc:sldMk cId="1761803385" sldId="278"/>
            <ac:cxnSpMk id="19" creationId="{507D7EC6-A314-9CAB-054E-C6816616AC8D}"/>
          </ac:cxnSpMkLst>
        </pc:cxnChg>
        <pc:cxnChg chg="add del mod ord topLvl">
          <ac:chgData name="Bittner, Bodowin Silvester" userId="7336ac58-4196-4884-88d1-0dfe9a9e63cc" providerId="ADAL" clId="{EF851D9D-8985-41D7-9F7A-DB5DF06E4443}" dt="2024-04-12T09:23:53.068" v="3080" actId="478"/>
          <ac:cxnSpMkLst>
            <pc:docMk/>
            <pc:sldMk cId="1761803385" sldId="278"/>
            <ac:cxnSpMk id="22" creationId="{22F5C3A2-50B3-7BBE-F9EA-801C72E3A4F9}"/>
          </ac:cxnSpMkLst>
        </pc:cxnChg>
        <pc:cxnChg chg="add del mod">
          <ac:chgData name="Bittner, Bodowin Silvester" userId="7336ac58-4196-4884-88d1-0dfe9a9e63cc" providerId="ADAL" clId="{EF851D9D-8985-41D7-9F7A-DB5DF06E4443}" dt="2024-04-12T09:21:50.207" v="3026" actId="478"/>
          <ac:cxnSpMkLst>
            <pc:docMk/>
            <pc:sldMk cId="1761803385" sldId="278"/>
            <ac:cxnSpMk id="25" creationId="{EF12F5B6-F20C-CED7-6B47-17CD27254EFF}"/>
          </ac:cxnSpMkLst>
        </pc:cxnChg>
        <pc:cxnChg chg="add del mod">
          <ac:chgData name="Bittner, Bodowin Silvester" userId="7336ac58-4196-4884-88d1-0dfe9a9e63cc" providerId="ADAL" clId="{EF851D9D-8985-41D7-9F7A-DB5DF06E4443}" dt="2024-04-12T09:21:56.452" v="3028" actId="478"/>
          <ac:cxnSpMkLst>
            <pc:docMk/>
            <pc:sldMk cId="1761803385" sldId="278"/>
            <ac:cxnSpMk id="28" creationId="{B89B7C62-7B57-D660-F12E-00844A657FEA}"/>
          </ac:cxnSpMkLst>
        </pc:cxnChg>
        <pc:cxnChg chg="add mod ord">
          <ac:chgData name="Bittner, Bodowin Silvester" userId="7336ac58-4196-4884-88d1-0dfe9a9e63cc" providerId="ADAL" clId="{EF851D9D-8985-41D7-9F7A-DB5DF06E4443}" dt="2024-04-12T09:23:40.122" v="3077" actId="208"/>
          <ac:cxnSpMkLst>
            <pc:docMk/>
            <pc:sldMk cId="1761803385" sldId="278"/>
            <ac:cxnSpMk id="31" creationId="{54F0073D-35A7-A294-6126-770493245A02}"/>
          </ac:cxnSpMkLst>
        </pc:cxnChg>
        <pc:cxnChg chg="add mod">
          <ac:chgData name="Bittner, Bodowin Silvester" userId="7336ac58-4196-4884-88d1-0dfe9a9e63cc" providerId="ADAL" clId="{EF851D9D-8985-41D7-9F7A-DB5DF06E4443}" dt="2024-04-12T09:24:02.055" v="3081" actId="571"/>
          <ac:cxnSpMkLst>
            <pc:docMk/>
            <pc:sldMk cId="1761803385" sldId="278"/>
            <ac:cxnSpMk id="34" creationId="{9525EFB5-50B9-B3AF-5FB6-DF2C2C796113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7B9070-9281-4B15-842B-9B135EE24603}" type="datetimeFigureOut">
              <a:rPr lang="de-AT" smtClean="0"/>
              <a:t>12.04.2024</a:t>
            </a:fld>
            <a:endParaRPr lang="de-AT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FC8AE-2100-403C-A265-5E8967C6F3BC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0652336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3A4CAD-2332-440A-B5F3-F5F26A7FAEC2}" type="datetimeFigureOut">
              <a:rPr lang="en-US" smtClean="0"/>
              <a:t>4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FE4289-A74F-4222-9B90-D9BDCFD3E1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7026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Foto Technikum Ta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BBEC87-611C-4FE7-801A-2BABE5B26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8963" y="3599414"/>
            <a:ext cx="5897562" cy="439153"/>
          </a:xfrm>
        </p:spPr>
        <p:txBody>
          <a:bodyPr/>
          <a:lstStyle>
            <a:lvl1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1pPr>
          </a:lstStyle>
          <a:p>
            <a:r>
              <a:rPr lang="en-US" dirty="0" err="1"/>
              <a:t>Titel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5C50F5-E4A6-49CB-8F10-BB04F42894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28963" y="4294464"/>
            <a:ext cx="5897561" cy="359569"/>
          </a:xfrm>
        </p:spPr>
        <p:txBody>
          <a:bodyPr>
            <a:normAutofit/>
          </a:bodyPr>
          <a:lstStyle>
            <a:lvl1pPr marL="0" indent="0">
              <a:buNone/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1pPr>
            <a:lvl2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2pPr>
            <a:lvl3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3pPr>
            <a:lvl4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4pPr>
            <a:lvl5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5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/ Autor</a:t>
            </a:r>
            <a:endParaRPr lang="en-AT" dirty="0"/>
          </a:p>
        </p:txBody>
      </p:sp>
      <p:pic>
        <p:nvPicPr>
          <p:cNvPr id="9" name="Grafik 8" descr="FH Technikum Wien - University of Applied Sciences">
            <a:extLst>
              <a:ext uri="{FF2B5EF4-FFF2-40B4-BE49-F238E27FC236}">
                <a16:creationId xmlns:a16="http://schemas.microsoft.com/office/drawing/2014/main" id="{E912822A-9B89-4584-AA9B-A21C38C240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5018" y="1916907"/>
            <a:ext cx="3366982" cy="2121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4949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01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1"/>
            <a:ext cx="9144000" cy="4729447"/>
          </a:xfrm>
          <a:prstGeom prst="rect">
            <a:avLst/>
          </a:prstGeom>
          <a:solidFill>
            <a:srgbClr val="727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350" dirty="0"/>
          </a:p>
        </p:txBody>
      </p:sp>
      <p:sp>
        <p:nvSpPr>
          <p:cNvPr id="23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80001" y="114303"/>
            <a:ext cx="8768791" cy="43915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lien Überschrift 1 (Arial </a:t>
            </a:r>
            <a:r>
              <a:rPr lang="de-DE" dirty="0" err="1"/>
              <a:t>Bold</a:t>
            </a:r>
            <a:r>
              <a:rPr lang="de-DE" dirty="0"/>
              <a:t>, 36pt)</a:t>
            </a:r>
            <a:br>
              <a:rPr lang="de-DE" dirty="0"/>
            </a:br>
            <a:endParaRPr lang="de-AT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F425C1B-10D2-421C-8EE6-8F68F5FA0A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0000" y="607500"/>
            <a:ext cx="8768791" cy="405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 sz="1050"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cxnSp>
        <p:nvCxnSpPr>
          <p:cNvPr id="24" name="Gerader Verbinder 2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0" y="4729447"/>
            <a:ext cx="9144000" cy="0"/>
          </a:xfrm>
          <a:prstGeom prst="line">
            <a:avLst/>
          </a:prstGeom>
          <a:ln w="12700">
            <a:solidFill>
              <a:srgbClr val="727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8555052" y="4767638"/>
            <a:ext cx="0" cy="33363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F34B061-0D40-4791-A41B-682280B1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NLP Project | Project Proposition | March 2024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7E1EF4B-A968-4425-8367-098DB2AEE2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057DB4-583E-41A7-BD94-987342018C1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D14491A-EBBE-4FB6-8BA1-C103D150F4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4704300"/>
            <a:ext cx="696991" cy="43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7586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02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1"/>
            <a:ext cx="9144000" cy="4729447"/>
          </a:xfrm>
          <a:prstGeom prst="rect">
            <a:avLst/>
          </a:prstGeom>
          <a:solidFill>
            <a:srgbClr val="727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350"/>
          </a:p>
        </p:txBody>
      </p:sp>
      <p:sp>
        <p:nvSpPr>
          <p:cNvPr id="23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80001" y="114303"/>
            <a:ext cx="8758517" cy="43915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lien Überschrift 1 (Arial </a:t>
            </a:r>
            <a:r>
              <a:rPr lang="de-DE" dirty="0" err="1"/>
              <a:t>Bold</a:t>
            </a:r>
            <a:r>
              <a:rPr lang="de-DE" dirty="0"/>
              <a:t>, 36pt)</a:t>
            </a:r>
            <a:br>
              <a:rPr lang="de-DE" dirty="0"/>
            </a:b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099191E-06C2-47AD-9B0A-CAC1645FCD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9388" y="607500"/>
            <a:ext cx="4320000" cy="405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1FF655F9-8F0F-4E00-A8EE-9C12E1706B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15632" y="606217"/>
            <a:ext cx="4320000" cy="405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cxnSp>
        <p:nvCxnSpPr>
          <p:cNvPr id="15" name="Gerader Verbinder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8555052" y="4767638"/>
            <a:ext cx="0" cy="33363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0" y="4729447"/>
            <a:ext cx="9144000" cy="0"/>
          </a:xfrm>
          <a:prstGeom prst="line">
            <a:avLst/>
          </a:prstGeom>
          <a:ln w="12700">
            <a:solidFill>
              <a:srgbClr val="727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EA78A91-4834-4955-816B-A33BE78515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NLP Project | Project Proposition | March 2024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41B1D30-8D96-496B-A7F3-BDA41722B7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C057DB4-583E-41A7-BD94-987342018C1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A200EBB-4D2E-465A-BA44-8D8FD4CE5E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4704300"/>
            <a:ext cx="696991" cy="43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2448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01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1"/>
            <a:ext cx="9144000" cy="4729447"/>
          </a:xfrm>
          <a:prstGeom prst="rect">
            <a:avLst/>
          </a:prstGeom>
          <a:solidFill>
            <a:srgbClr val="005A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350"/>
          </a:p>
        </p:txBody>
      </p:sp>
      <p:sp>
        <p:nvSpPr>
          <p:cNvPr id="23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80001" y="114303"/>
            <a:ext cx="8758517" cy="43915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lien Überschrift 1 (Arial </a:t>
            </a:r>
            <a:r>
              <a:rPr lang="de-DE" dirty="0" err="1"/>
              <a:t>Bold</a:t>
            </a:r>
            <a:r>
              <a:rPr lang="de-DE" dirty="0"/>
              <a:t>, 36pt)</a:t>
            </a:r>
            <a:br>
              <a:rPr lang="de-DE" dirty="0"/>
            </a:br>
            <a:endParaRPr lang="de-AT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0F4D230B-92FB-4F80-A5D8-47442699E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0000" y="607500"/>
            <a:ext cx="8768791" cy="405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 sz="1050"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cxnSp>
        <p:nvCxnSpPr>
          <p:cNvPr id="13" name="Gerader Verbinde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8555052" y="4767638"/>
            <a:ext cx="0" cy="33363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0" y="4729447"/>
            <a:ext cx="9144000" cy="0"/>
          </a:xfrm>
          <a:prstGeom prst="line">
            <a:avLst/>
          </a:prstGeom>
          <a:ln w="12700">
            <a:solidFill>
              <a:srgbClr val="727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107673A-A21E-4664-8E91-00B707F809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NLP Project | Project Proposition | March 2024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3828A2C-43CF-4B24-AB3D-CA11C4FC4B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057DB4-583E-41A7-BD94-987342018C1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502DC7D-CE2C-49A4-AB84-DE425786F4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4704300"/>
            <a:ext cx="696991" cy="43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1297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02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1"/>
            <a:ext cx="9144000" cy="4729447"/>
          </a:xfrm>
          <a:prstGeom prst="rect">
            <a:avLst/>
          </a:prstGeom>
          <a:solidFill>
            <a:srgbClr val="005A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350"/>
          </a:p>
        </p:txBody>
      </p:sp>
      <p:sp>
        <p:nvSpPr>
          <p:cNvPr id="23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80000" y="114303"/>
            <a:ext cx="8784000" cy="43915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lien Überschrift 1 (Arial </a:t>
            </a:r>
            <a:r>
              <a:rPr lang="de-DE" dirty="0" err="1"/>
              <a:t>Bold</a:t>
            </a:r>
            <a:r>
              <a:rPr lang="de-DE" dirty="0"/>
              <a:t>, 36pt)</a:t>
            </a:r>
            <a:br>
              <a:rPr lang="de-DE" dirty="0"/>
            </a:br>
            <a:endParaRPr lang="de-AT"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C1810ADF-882B-4FFD-A401-52EBD2C3FF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9388" y="607500"/>
            <a:ext cx="4320000" cy="405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918F80D2-235B-4BC1-AB73-F792A6E717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44000" y="607500"/>
            <a:ext cx="4320000" cy="405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cxnSp>
        <p:nvCxnSpPr>
          <p:cNvPr id="24" name="Gerader Verbinder 2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0" y="4729447"/>
            <a:ext cx="9144000" cy="0"/>
          </a:xfrm>
          <a:prstGeom prst="line">
            <a:avLst/>
          </a:prstGeom>
          <a:ln w="12700">
            <a:solidFill>
              <a:srgbClr val="727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8555052" y="4767638"/>
            <a:ext cx="0" cy="33363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913C93F-4C12-40C1-A6ED-7A7506D85F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NLP Project | Project Proposition | March 2024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589EC2F-2384-4108-93D2-F2F7A43845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C057DB4-583E-41A7-BD94-987342018C1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062C44E-6AED-4204-AA3F-E6AC415283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4704300"/>
            <a:ext cx="696991" cy="43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489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Foto Technikum Nac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4A86F4-3070-4C24-8038-34CAB481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3971" y="3599413"/>
            <a:ext cx="5861296" cy="439153"/>
          </a:xfrm>
        </p:spPr>
        <p:txBody>
          <a:bodyPr/>
          <a:lstStyle>
            <a:lvl1pPr>
              <a:defRPr>
                <a:solidFill>
                  <a:schemeClr val="bg1"/>
                </a:solidFill>
                <a:highlight>
                  <a:srgbClr val="72777A"/>
                </a:highlight>
              </a:defRPr>
            </a:lvl1pPr>
          </a:lstStyle>
          <a:p>
            <a:r>
              <a:rPr lang="de-DE" dirty="0"/>
              <a:t>Titel</a:t>
            </a:r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16AE9FB-C334-42DE-8F45-21484CB840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41785" y="4279053"/>
            <a:ext cx="5861295" cy="359569"/>
          </a:xfrm>
        </p:spPr>
        <p:txBody>
          <a:bodyPr wrap="square">
            <a:normAutofit/>
          </a:bodyPr>
          <a:lstStyle>
            <a:lvl1pPr marL="0" indent="0">
              <a:buNone/>
              <a:defRPr>
                <a:solidFill>
                  <a:schemeClr val="bg1"/>
                </a:solidFill>
                <a:highlight>
                  <a:srgbClr val="72777A"/>
                </a:highlight>
              </a:defRPr>
            </a:lvl1pPr>
            <a:lvl2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2pPr>
            <a:lvl3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3pPr>
            <a:lvl4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4pPr>
            <a:lvl5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5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/ Autor</a:t>
            </a:r>
            <a:endParaRPr lang="en-AT" dirty="0"/>
          </a:p>
        </p:txBody>
      </p:sp>
      <p:pic>
        <p:nvPicPr>
          <p:cNvPr id="5" name="Grafik 4" descr="FH Technikum Wien - University of Applied Sciences">
            <a:extLst>
              <a:ext uri="{FF2B5EF4-FFF2-40B4-BE49-F238E27FC236}">
                <a16:creationId xmlns:a16="http://schemas.microsoft.com/office/drawing/2014/main" id="{36DE48FA-9F9C-4F81-A9C6-3FAA23DE15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5018" y="1916906"/>
            <a:ext cx="3366982" cy="2121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1882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alken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3331747" y="3216528"/>
            <a:ext cx="5694779" cy="43313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7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</a:t>
            </a:r>
            <a:endParaRPr lang="de-A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C28234-80A7-441C-9E93-EC38F62D80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1746" y="3888000"/>
            <a:ext cx="5694779" cy="359569"/>
          </a:xfrm>
        </p:spPr>
        <p:txBody>
          <a:bodyPr wrap="square">
            <a:norm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2pPr>
            <a:lvl3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3pPr>
            <a:lvl4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4pPr>
            <a:lvl5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5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/ Autor</a:t>
            </a:r>
            <a:endParaRPr lang="en-AT" dirty="0"/>
          </a:p>
        </p:txBody>
      </p:sp>
      <p:pic>
        <p:nvPicPr>
          <p:cNvPr id="3" name="Grafik 2" descr="FH Technikum Wien - University of Applied Sciences">
            <a:extLst>
              <a:ext uri="{FF2B5EF4-FFF2-40B4-BE49-F238E27FC236}">
                <a16:creationId xmlns:a16="http://schemas.microsoft.com/office/drawing/2014/main" id="{297655D6-11DD-4FCD-A16D-41373134CF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7656" y="1020766"/>
            <a:ext cx="4171950" cy="2628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2168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alken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3331747" y="3216528"/>
            <a:ext cx="5694779" cy="43313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>
              <a:defRPr sz="2700">
                <a:solidFill>
                  <a:srgbClr val="005A96"/>
                </a:solidFill>
              </a:defRPr>
            </a:lvl1pPr>
          </a:lstStyle>
          <a:p>
            <a:r>
              <a:rPr lang="de-DE" dirty="0"/>
              <a:t>Titel</a:t>
            </a:r>
            <a:endParaRPr lang="de-AT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1993B6AF-0521-4A85-891D-947C2C556B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1746" y="3888000"/>
            <a:ext cx="5694779" cy="359569"/>
          </a:xfrm>
        </p:spPr>
        <p:txBody>
          <a:bodyPr wrap="square">
            <a:normAutofit/>
          </a:bodyPr>
          <a:lstStyle>
            <a:lvl1pPr marL="0" indent="0">
              <a:buNone/>
              <a:defRPr>
                <a:solidFill>
                  <a:srgbClr val="005A96"/>
                </a:solidFill>
              </a:defRPr>
            </a:lvl1pPr>
            <a:lvl2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2pPr>
            <a:lvl3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3pPr>
            <a:lvl4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4pPr>
            <a:lvl5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5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/ Autor</a:t>
            </a:r>
            <a:endParaRPr lang="en-AT" dirty="0"/>
          </a:p>
        </p:txBody>
      </p:sp>
      <p:pic>
        <p:nvPicPr>
          <p:cNvPr id="5" name="Grafik 4" descr="FH Technikum Wien - University of Applied Sciences">
            <a:extLst>
              <a:ext uri="{FF2B5EF4-FFF2-40B4-BE49-F238E27FC236}">
                <a16:creationId xmlns:a16="http://schemas.microsoft.com/office/drawing/2014/main" id="{521AFF37-CD1E-46E6-AE37-FDEED49D26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7656" y="1020766"/>
            <a:ext cx="4171950" cy="2628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8762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 Balken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3ED02347-5B9C-47C3-9770-0CA1C1115E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084" y="3582896"/>
            <a:ext cx="5216215" cy="53190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27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</a:t>
            </a:r>
            <a:endParaRPr lang="de-AT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861E06E-01BF-45E4-B05F-CDFA812E76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59084" y="4182295"/>
            <a:ext cx="5216215" cy="359569"/>
          </a:xfrm>
        </p:spPr>
        <p:txBody>
          <a:bodyPr wrap="square">
            <a:normAutofit/>
          </a:bodyPr>
          <a:lstStyle>
            <a:lvl1pPr marL="0" indent="0" algn="r">
              <a:buNone/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2pPr>
            <a:lvl3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3pPr>
            <a:lvl4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4pPr>
            <a:lvl5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5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/ Autor</a:t>
            </a:r>
            <a:endParaRPr lang="en-AT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3F895DB-6C5B-416C-840B-FDB951A38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01" y="-308648"/>
            <a:ext cx="7406598" cy="4166212"/>
          </a:xfrm>
          <a:prstGeom prst="rect">
            <a:avLst/>
          </a:prstGeom>
        </p:spPr>
      </p:pic>
      <p:pic>
        <p:nvPicPr>
          <p:cNvPr id="8" name="Grafik 7" descr="FH Technikum Wien - University of Applied Sciences">
            <a:extLst>
              <a:ext uri="{FF2B5EF4-FFF2-40B4-BE49-F238E27FC236}">
                <a16:creationId xmlns:a16="http://schemas.microsoft.com/office/drawing/2014/main" id="{1D30033D-611F-4A97-9A01-BE499811FC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2874" y="3214292"/>
            <a:ext cx="2622133" cy="1652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0634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nur Text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252000" y="1500740"/>
            <a:ext cx="8640000" cy="10800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4050" baseline="0">
                <a:solidFill>
                  <a:srgbClr val="72777A"/>
                </a:solidFill>
              </a:defRPr>
            </a:lvl1pPr>
          </a:lstStyle>
          <a:p>
            <a:r>
              <a:rPr lang="de-DE" dirty="0" err="1"/>
              <a:t>Präsentations</a:t>
            </a:r>
            <a:r>
              <a:rPr lang="de-DE" dirty="0"/>
              <a:t> Titel</a:t>
            </a:r>
            <a:br>
              <a:rPr lang="de-DE" dirty="0"/>
            </a:br>
            <a:r>
              <a:rPr lang="de-DE" dirty="0"/>
              <a:t>(Arial </a:t>
            </a:r>
            <a:r>
              <a:rPr lang="de-DE" dirty="0" err="1"/>
              <a:t>Bold</a:t>
            </a:r>
            <a:r>
              <a:rPr lang="de-DE" dirty="0"/>
              <a:t>, 54pt)</a:t>
            </a:r>
            <a:endParaRPr lang="de-A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5A4DA91-D7A9-4048-B82C-A20ED8AA6C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2663034"/>
            <a:ext cx="8640000" cy="359569"/>
          </a:xfrm>
        </p:spPr>
        <p:txBody>
          <a:bodyPr wrap="square">
            <a:normAutofit/>
          </a:bodyPr>
          <a:lstStyle>
            <a:lvl1pPr marL="0" indent="0" algn="r">
              <a:buNone/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2pPr>
            <a:lvl3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3pPr>
            <a:lvl4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4pPr>
            <a:lvl5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5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/ Autor</a:t>
            </a:r>
            <a:endParaRPr lang="en-AT" dirty="0"/>
          </a:p>
        </p:txBody>
      </p:sp>
      <p:pic>
        <p:nvPicPr>
          <p:cNvPr id="6" name="Grafik 5" descr="FH Technikum Wien - University of Applied Sciences">
            <a:extLst>
              <a:ext uri="{FF2B5EF4-FFF2-40B4-BE49-F238E27FC236}">
                <a16:creationId xmlns:a16="http://schemas.microsoft.com/office/drawing/2014/main" id="{857FD1FE-107F-4E9C-BAAF-2F91441FA8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88826" y="3208647"/>
            <a:ext cx="3242514" cy="2043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0072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nur Text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252000" y="1499456"/>
            <a:ext cx="8640000" cy="10800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4050" baseline="0">
                <a:solidFill>
                  <a:srgbClr val="005A96"/>
                </a:solidFill>
              </a:defRPr>
            </a:lvl1pPr>
          </a:lstStyle>
          <a:p>
            <a:r>
              <a:rPr lang="de-DE" dirty="0" err="1"/>
              <a:t>Präsentations</a:t>
            </a:r>
            <a:r>
              <a:rPr lang="de-DE" dirty="0"/>
              <a:t> Titel</a:t>
            </a:r>
            <a:br>
              <a:rPr lang="de-DE" dirty="0"/>
            </a:br>
            <a:r>
              <a:rPr lang="de-DE" dirty="0"/>
              <a:t>(Arial </a:t>
            </a:r>
            <a:r>
              <a:rPr lang="de-DE" dirty="0" err="1"/>
              <a:t>Bold</a:t>
            </a:r>
            <a:r>
              <a:rPr lang="de-DE" dirty="0"/>
              <a:t>, 54pt)</a:t>
            </a:r>
            <a:endParaRPr lang="de-A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09247A6-7FA5-4C70-B8D4-64482CCCCA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2659502"/>
            <a:ext cx="8640000" cy="359569"/>
          </a:xfrm>
        </p:spPr>
        <p:txBody>
          <a:bodyPr wrap="square">
            <a:normAutofit/>
          </a:bodyPr>
          <a:lstStyle>
            <a:lvl1pPr marL="0" indent="0" algn="r">
              <a:buNone/>
              <a:defRPr>
                <a:solidFill>
                  <a:srgbClr val="005A96"/>
                </a:solidFill>
              </a:defRPr>
            </a:lvl1pPr>
            <a:lvl2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2pPr>
            <a:lvl3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3pPr>
            <a:lvl4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4pPr>
            <a:lvl5pPr>
              <a:defRPr>
                <a:solidFill>
                  <a:schemeClr val="bg1"/>
                </a:solidFill>
                <a:highlight>
                  <a:srgbClr val="005A96"/>
                </a:highlight>
              </a:defRPr>
            </a:lvl5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/ Autor</a:t>
            </a:r>
            <a:endParaRPr lang="en-AT" dirty="0"/>
          </a:p>
        </p:txBody>
      </p:sp>
      <p:pic>
        <p:nvPicPr>
          <p:cNvPr id="6" name="Grafik 5" descr="FH Technikum Wien - University of Applied Sciences">
            <a:extLst>
              <a:ext uri="{FF2B5EF4-FFF2-40B4-BE49-F238E27FC236}">
                <a16:creationId xmlns:a16="http://schemas.microsoft.com/office/drawing/2014/main" id="{6501A466-0610-40A9-AB61-914300F4FEB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11312" y="3186162"/>
            <a:ext cx="3242514" cy="2043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9083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01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80000" y="114303"/>
            <a:ext cx="8775320" cy="43915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olien Überschrift 1 (Arial </a:t>
            </a:r>
            <a:r>
              <a:rPr lang="de-DE" dirty="0" err="1"/>
              <a:t>Bold</a:t>
            </a:r>
            <a:r>
              <a:rPr lang="de-DE" dirty="0"/>
              <a:t>, 36pt)</a:t>
            </a:r>
            <a:br>
              <a:rPr lang="de-DE" dirty="0"/>
            </a:b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26306D8-CDF4-4F2E-9FBD-C5E3FF89EA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0001" y="607500"/>
            <a:ext cx="8775319" cy="405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cxnSp>
        <p:nvCxnSpPr>
          <p:cNvPr id="10" name="Gerader Verbinder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8555052" y="4767638"/>
            <a:ext cx="0" cy="33363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0" y="4737152"/>
            <a:ext cx="9144000" cy="0"/>
          </a:xfrm>
          <a:prstGeom prst="line">
            <a:avLst/>
          </a:prstGeom>
          <a:ln w="12700">
            <a:solidFill>
              <a:srgbClr val="727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A27FB59-6516-4608-814D-69599966B7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NLP Project | Project Proposition | March 2024</a:t>
            </a:r>
            <a:endParaRPr lang="en-GB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27BF722-F8E8-4DC1-892E-9949A74220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057DB4-583E-41A7-BD94-987342018C1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85D0149-746E-4803-A83D-AA7F099F90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4704300"/>
            <a:ext cx="696991" cy="43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49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02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80000" y="114303"/>
            <a:ext cx="8784000" cy="43915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olien Überschrift 1 (Arial </a:t>
            </a:r>
            <a:r>
              <a:rPr lang="de-DE" dirty="0" err="1"/>
              <a:t>Bold</a:t>
            </a:r>
            <a:r>
              <a:rPr lang="de-DE" dirty="0"/>
              <a:t>, 36pt)</a:t>
            </a:r>
            <a:br>
              <a:rPr lang="de-DE" dirty="0"/>
            </a:b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F491F86-EE9A-4115-A727-4BDFC52E90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9388" y="607500"/>
            <a:ext cx="4320000" cy="405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A54ADA3D-EE1E-4DDD-A462-1405A7DF6A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44614" y="607500"/>
            <a:ext cx="4320000" cy="405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cxnSp>
        <p:nvCxnSpPr>
          <p:cNvPr id="24" name="Gerader Verbinder 2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0" y="4729447"/>
            <a:ext cx="9144000" cy="0"/>
          </a:xfrm>
          <a:prstGeom prst="line">
            <a:avLst/>
          </a:prstGeom>
          <a:ln w="12700">
            <a:solidFill>
              <a:srgbClr val="727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8555052" y="4767638"/>
            <a:ext cx="0" cy="33363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79EACA-542A-420D-9102-D87CB5A116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NLP Project | Project Proposition | March 2024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EEBB329-097D-444A-8D3F-2D2FDAAC49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C057DB4-583E-41A7-BD94-987342018C1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395CAF2-D757-4B2C-A53F-C65EB56E59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4704300"/>
            <a:ext cx="696991" cy="43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5133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1CCBEED-D982-01D7-394A-9CEDA87FF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830319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81" imgH="281" progId="TCLayout.ActiveDocument.1">
                  <p:embed/>
                </p:oleObj>
              </mc:Choice>
              <mc:Fallback>
                <p:oleObj name="think-cell Slide" r:id="rId16" imgW="281" imgH="28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CCBEED-D982-01D7-394A-9CEDA87FF8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16682" y="114303"/>
            <a:ext cx="8910638" cy="43915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dirty="0"/>
              <a:t>Folien Überschrift 1 (Arial </a:t>
            </a:r>
            <a:r>
              <a:rPr lang="de-DE" dirty="0" err="1"/>
              <a:t>Bold</a:t>
            </a:r>
            <a:r>
              <a:rPr lang="de-DE" dirty="0"/>
              <a:t>, 36pt)</a:t>
            </a:r>
            <a:br>
              <a:rPr lang="de-DE" dirty="0"/>
            </a:b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16682" y="689434"/>
            <a:ext cx="8910638" cy="40421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Überschrift 2 (Arial </a:t>
            </a:r>
            <a:r>
              <a:rPr lang="de-DE" dirty="0" err="1"/>
              <a:t>Bold</a:t>
            </a:r>
            <a:r>
              <a:rPr lang="de-DE" dirty="0"/>
              <a:t>, 28pt)</a:t>
            </a:r>
          </a:p>
          <a:p>
            <a:pPr lvl="1"/>
            <a:r>
              <a:rPr lang="de-DE" dirty="0"/>
              <a:t>Überschrift 3 (Arial </a:t>
            </a:r>
            <a:r>
              <a:rPr lang="de-DE" dirty="0" err="1"/>
              <a:t>Bold</a:t>
            </a:r>
            <a:r>
              <a:rPr lang="de-DE" dirty="0"/>
              <a:t>, 24pt)</a:t>
            </a:r>
          </a:p>
          <a:p>
            <a:pPr marL="857228" marR="0" lvl="2" indent="-171446" algn="l" defTabSz="685783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de-DE" dirty="0"/>
              <a:t>Laufschrift </a:t>
            </a:r>
            <a:r>
              <a:rPr lang="de-DE" dirty="0" err="1"/>
              <a:t>mindestgröße</a:t>
            </a:r>
            <a:r>
              <a:rPr lang="de-DE" dirty="0"/>
              <a:t> (Arial, 18pt)</a:t>
            </a:r>
          </a:p>
          <a:p>
            <a:pPr marL="1285843" marR="0" lvl="3" indent="-171446" algn="l" defTabSz="685783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de-DE" dirty="0"/>
              <a:t>Laufschrift </a:t>
            </a:r>
            <a:r>
              <a:rPr lang="de-DE" dirty="0" err="1"/>
              <a:t>mindestgröße</a:t>
            </a:r>
            <a:r>
              <a:rPr lang="de-DE" dirty="0"/>
              <a:t> (Arial, 16pt)</a:t>
            </a:r>
          </a:p>
          <a:p>
            <a:pPr marL="1543012" marR="0" lvl="4" indent="-171446" algn="l" defTabSz="685783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de-DE" dirty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E08F28-5ED9-497F-8AE1-EDBEA8C7CD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3304" y="4812504"/>
            <a:ext cx="5674248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NLP Project | Project Proposition | March 2024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5B2D6C-EFE7-43C3-BA49-A7C81C2B5A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42066" y="4812504"/>
            <a:ext cx="48525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C057DB4-583E-41A7-BD94-987342018C1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E5C9C4-82C5-8C10-4CBD-1D43786E895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4369562" y="4927600"/>
            <a:ext cx="4333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AT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873087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7" r:id="rId4"/>
    <p:sldLayoutId id="2147483669" r:id="rId5"/>
    <p:sldLayoutId id="2147483660" r:id="rId6"/>
    <p:sldLayoutId id="2147483659" r:id="rId7"/>
    <p:sldLayoutId id="2147483662" r:id="rId8"/>
    <p:sldLayoutId id="2147483665" r:id="rId9"/>
    <p:sldLayoutId id="2147483661" r:id="rId10"/>
    <p:sldLayoutId id="2147483666" r:id="rId11"/>
    <p:sldLayoutId id="2147483664" r:id="rId12"/>
    <p:sldLayoutId id="2147483668" r:id="rId13"/>
  </p:sldLayoutIdLst>
  <p:hf hd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700" b="1" kern="120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375"/>
        </a:spcBef>
        <a:spcAft>
          <a:spcPts val="375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spcAft>
          <a:spcPts val="375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28" marR="0" indent="-171446" algn="l" defTabSz="685783" rtl="0" eaLnBrk="1" fontAlgn="auto" latinLnBrk="0" hangingPunct="1">
        <a:lnSpc>
          <a:spcPct val="90000"/>
        </a:lnSpc>
        <a:spcBef>
          <a:spcPts val="375"/>
        </a:spcBef>
        <a:spcAft>
          <a:spcPts val="375"/>
        </a:spcAft>
        <a:buClrTx/>
        <a:buSzTx/>
        <a:buFont typeface="Symbol" panose="05050102010706020507" pitchFamily="18" charset="2"/>
        <a:buChar char="-"/>
        <a:tabLst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85843" marR="0" indent="-171446" algn="l" defTabSz="685783" rtl="0" eaLnBrk="1" fontAlgn="auto" latinLnBrk="0" hangingPunct="1">
        <a:lnSpc>
          <a:spcPct val="90000"/>
        </a:lnSpc>
        <a:spcBef>
          <a:spcPts val="375"/>
        </a:spcBef>
        <a:spcAft>
          <a:spcPts val="0"/>
        </a:spcAft>
        <a:buClrTx/>
        <a:buSzTx/>
        <a:buFont typeface="Symbol" panose="05050102010706020507" pitchFamily="18" charset="2"/>
        <a:buChar char="-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" userDrawn="1">
          <p15:clr>
            <a:srgbClr val="F26B43"/>
          </p15:clr>
        </p15:guide>
        <p15:guide id="2" orient="horz" pos="72" userDrawn="1">
          <p15:clr>
            <a:srgbClr val="F26B43"/>
          </p15:clr>
        </p15:guide>
        <p15:guide id="3" orient="horz" pos="2981" userDrawn="1">
          <p15:clr>
            <a:srgbClr val="F26B43"/>
          </p15:clr>
        </p15:guide>
        <p15:guide id="4" pos="5687" userDrawn="1">
          <p15:clr>
            <a:srgbClr val="F26B43"/>
          </p15:clr>
        </p15:guide>
        <p15:guide id="5" orient="horz" pos="1620" userDrawn="1">
          <p15:clr>
            <a:srgbClr val="F26B43"/>
          </p15:clr>
        </p15:guide>
        <p15:guide id="6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1.png"/><Relationship Id="rId12" Type="http://schemas.openxmlformats.org/officeDocument/2006/relationships/image" Target="../media/image16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10.sv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svg"/><Relationship Id="rId4" Type="http://schemas.openxmlformats.org/officeDocument/2006/relationships/image" Target="../media/image1.emf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9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png"/><Relationship Id="rId18" Type="http://schemas.openxmlformats.org/officeDocument/2006/relationships/image" Target="../media/image31.svg"/><Relationship Id="rId3" Type="http://schemas.openxmlformats.org/officeDocument/2006/relationships/oleObject" Target="../embeddings/oleObject5.bin"/><Relationship Id="rId21" Type="http://schemas.openxmlformats.org/officeDocument/2006/relationships/image" Target="../media/image34.png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17" Type="http://schemas.openxmlformats.org/officeDocument/2006/relationships/image" Target="../media/image30.pn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29.svg"/><Relationship Id="rId20" Type="http://schemas.openxmlformats.org/officeDocument/2006/relationships/image" Target="../media/image33.svg"/><Relationship Id="rId1" Type="http://schemas.openxmlformats.org/officeDocument/2006/relationships/tags" Target="../tags/tag6.xml"/><Relationship Id="rId6" Type="http://schemas.openxmlformats.org/officeDocument/2006/relationships/image" Target="../media/image10.svg"/><Relationship Id="rId11" Type="http://schemas.openxmlformats.org/officeDocument/2006/relationships/image" Target="../media/image24.png"/><Relationship Id="rId24" Type="http://schemas.openxmlformats.org/officeDocument/2006/relationships/image" Target="../media/image37.svg"/><Relationship Id="rId5" Type="http://schemas.openxmlformats.org/officeDocument/2006/relationships/image" Target="../media/image9.png"/><Relationship Id="rId15" Type="http://schemas.openxmlformats.org/officeDocument/2006/relationships/image" Target="../media/image28.png"/><Relationship Id="rId23" Type="http://schemas.openxmlformats.org/officeDocument/2006/relationships/image" Target="../media/image36.png"/><Relationship Id="rId10" Type="http://schemas.openxmlformats.org/officeDocument/2006/relationships/image" Target="../media/image23.svg"/><Relationship Id="rId19" Type="http://schemas.openxmlformats.org/officeDocument/2006/relationships/image" Target="../media/image32.png"/><Relationship Id="rId4" Type="http://schemas.openxmlformats.org/officeDocument/2006/relationships/image" Target="../media/image1.emf"/><Relationship Id="rId9" Type="http://schemas.openxmlformats.org/officeDocument/2006/relationships/image" Target="../media/image22.png"/><Relationship Id="rId14" Type="http://schemas.openxmlformats.org/officeDocument/2006/relationships/image" Target="../media/image27.svg"/><Relationship Id="rId22" Type="http://schemas.openxmlformats.org/officeDocument/2006/relationships/image" Target="../media/image3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6" Type="http://schemas.openxmlformats.org/officeDocument/2006/relationships/image" Target="../media/image11.png"/><Relationship Id="rId5" Type="http://schemas.openxmlformats.org/officeDocument/2006/relationships/image" Target="../media/image38.jp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13" Type="http://schemas.openxmlformats.org/officeDocument/2006/relationships/image" Target="../media/image47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41.png"/><Relationship Id="rId12" Type="http://schemas.openxmlformats.org/officeDocument/2006/relationships/image" Target="../media/image46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40.sv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svg"/><Relationship Id="rId4" Type="http://schemas.openxmlformats.org/officeDocument/2006/relationships/image" Target="../media/image1.emf"/><Relationship Id="rId9" Type="http://schemas.openxmlformats.org/officeDocument/2006/relationships/image" Target="../media/image43.png"/><Relationship Id="rId14" Type="http://schemas.openxmlformats.org/officeDocument/2006/relationships/image" Target="../media/image48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10" Type="http://schemas.openxmlformats.org/officeDocument/2006/relationships/image" Target="../media/image54.svg"/><Relationship Id="rId4" Type="http://schemas.openxmlformats.org/officeDocument/2006/relationships/image" Target="../media/image1.emf"/><Relationship Id="rId9" Type="http://schemas.openxmlformats.org/officeDocument/2006/relationships/image" Target="../media/image5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13" Type="http://schemas.openxmlformats.org/officeDocument/2006/relationships/image" Target="../media/image64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58.png"/><Relationship Id="rId12" Type="http://schemas.openxmlformats.org/officeDocument/2006/relationships/image" Target="../media/image63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6" Type="http://schemas.openxmlformats.org/officeDocument/2006/relationships/image" Target="../media/image57.sv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0" Type="http://schemas.openxmlformats.org/officeDocument/2006/relationships/image" Target="../media/image61.svg"/><Relationship Id="rId4" Type="http://schemas.openxmlformats.org/officeDocument/2006/relationships/image" Target="../media/image55.emf"/><Relationship Id="rId9" Type="http://schemas.openxmlformats.org/officeDocument/2006/relationships/image" Target="../media/image60.png"/><Relationship Id="rId14" Type="http://schemas.openxmlformats.org/officeDocument/2006/relationships/image" Target="../media/image65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6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5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CEB022A-99E4-E511-B8AA-0E9FD5A545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1918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1" imgH="281" progId="TCLayout.ActiveDocument.1">
                  <p:embed/>
                </p:oleObj>
              </mc:Choice>
              <mc:Fallback>
                <p:oleObj name="think-cell Slide" r:id="rId3" imgW="281" imgH="281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EB022A-99E4-E511-B8AA-0E9FD5A54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B1EE7A55-1D41-490E-91EF-6B1065D289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084" y="3582896"/>
            <a:ext cx="5216215" cy="531903"/>
          </a:xfrm>
        </p:spPr>
        <p:txBody>
          <a:bodyPr vert="horz">
            <a:normAutofit/>
          </a:bodyPr>
          <a:lstStyle/>
          <a:p>
            <a:r>
              <a:rPr lang="en-US" dirty="0"/>
              <a:t>NLP Project Final Presentatio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441A083-FC77-4905-9200-20D18E8DDF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59084" y="4182295"/>
            <a:ext cx="5216215" cy="359569"/>
          </a:xfrm>
        </p:spPr>
        <p:txBody>
          <a:bodyPr>
            <a:normAutofit/>
          </a:bodyPr>
          <a:lstStyle/>
          <a:p>
            <a:r>
              <a:rPr lang="en-US" sz="1100" dirty="0" err="1"/>
              <a:t>HateHaters</a:t>
            </a:r>
            <a:r>
              <a:rPr lang="en-US" sz="1100" dirty="0"/>
              <a:t>, | Bittner Bodowin, </a:t>
            </a:r>
            <a:r>
              <a:rPr lang="en-US" sz="1100" dirty="0" err="1"/>
              <a:t>Langela</a:t>
            </a:r>
            <a:r>
              <a:rPr lang="en-US" sz="1100" dirty="0"/>
              <a:t> </a:t>
            </a:r>
            <a:r>
              <a:rPr lang="en-US" sz="1100" dirty="0" err="1"/>
              <a:t>Regincos</a:t>
            </a:r>
            <a:r>
              <a:rPr lang="en-US" sz="1100" dirty="0"/>
              <a:t> Jan, Marcon Elias </a:t>
            </a:r>
          </a:p>
        </p:txBody>
      </p:sp>
    </p:spTree>
    <p:extLst>
      <p:ext uri="{BB962C8B-B14F-4D97-AF65-F5344CB8AC3E}">
        <p14:creationId xmlns:p14="http://schemas.microsoft.com/office/powerpoint/2010/main" val="27346877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98C0263-4F09-3D55-A44A-AB1D0D1197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2604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C0263-4F09-3D55-A44A-AB1D0D1197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7BD695-59CE-DB57-E889-EF94810B7C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AT" dirty="0"/>
              <a:t>Agend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0E8998-51AB-8CDB-4BFB-3B6723A4BA3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NLP Project | Project Proposition | March 2024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68EE32-331D-9241-2F66-947126D12CC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057DB4-583E-41A7-BD94-987342018C17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8" name="Ellipse 16">
            <a:extLst>
              <a:ext uri="{FF2B5EF4-FFF2-40B4-BE49-F238E27FC236}">
                <a16:creationId xmlns:a16="http://schemas.microsoft.com/office/drawing/2014/main" id="{149C6E66-19DE-6901-6BE1-14BDB4889EF0}"/>
              </a:ext>
            </a:extLst>
          </p:cNvPr>
          <p:cNvSpPr/>
          <p:nvPr/>
        </p:nvSpPr>
        <p:spPr>
          <a:xfrm>
            <a:off x="180000" y="1387712"/>
            <a:ext cx="622727" cy="62272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5992" tIns="45709" rIns="35992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e-DE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1</a:t>
            </a:r>
          </a:p>
        </p:txBody>
      </p:sp>
      <p:sp>
        <p:nvSpPr>
          <p:cNvPr id="9" name="Ellipse 17">
            <a:extLst>
              <a:ext uri="{FF2B5EF4-FFF2-40B4-BE49-F238E27FC236}">
                <a16:creationId xmlns:a16="http://schemas.microsoft.com/office/drawing/2014/main" id="{6B0787DF-04F9-E42B-C08A-CECA73CCB939}"/>
              </a:ext>
            </a:extLst>
          </p:cNvPr>
          <p:cNvSpPr/>
          <p:nvPr/>
        </p:nvSpPr>
        <p:spPr>
          <a:xfrm>
            <a:off x="180000" y="2118511"/>
            <a:ext cx="622727" cy="622727"/>
          </a:xfrm>
          <a:prstGeom prst="ellipse">
            <a:avLst/>
          </a:prstGeom>
          <a:solidFill>
            <a:srgbClr val="009F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5992" tIns="45709" rIns="35992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e-DE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2</a:t>
            </a:r>
          </a:p>
        </p:txBody>
      </p:sp>
      <p:sp>
        <p:nvSpPr>
          <p:cNvPr id="10" name="Ellipse 18">
            <a:extLst>
              <a:ext uri="{FF2B5EF4-FFF2-40B4-BE49-F238E27FC236}">
                <a16:creationId xmlns:a16="http://schemas.microsoft.com/office/drawing/2014/main" id="{36AE48A7-F513-2105-D5D3-4BAC86A83371}"/>
              </a:ext>
            </a:extLst>
          </p:cNvPr>
          <p:cNvSpPr/>
          <p:nvPr/>
        </p:nvSpPr>
        <p:spPr>
          <a:xfrm>
            <a:off x="180000" y="2849310"/>
            <a:ext cx="622727" cy="622727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5992" tIns="45709" rIns="35992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e-DE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3CDB60-A11B-0E08-D71C-BA9ECF1F144C}"/>
              </a:ext>
            </a:extLst>
          </p:cNvPr>
          <p:cNvSpPr txBox="1"/>
          <p:nvPr/>
        </p:nvSpPr>
        <p:spPr>
          <a:xfrm>
            <a:off x="889327" y="2960664"/>
            <a:ext cx="6622327" cy="400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1217828">
              <a:buClr>
                <a:schemeClr val="accent2"/>
              </a:buClr>
              <a:defRPr/>
            </a:pPr>
            <a:r>
              <a:rPr lang="en-US" sz="2000" dirty="0"/>
              <a:t>Methodology</a:t>
            </a:r>
          </a:p>
        </p:txBody>
      </p:sp>
      <p:sp>
        <p:nvSpPr>
          <p:cNvPr id="14" name="Ellipse 18">
            <a:extLst>
              <a:ext uri="{FF2B5EF4-FFF2-40B4-BE49-F238E27FC236}">
                <a16:creationId xmlns:a16="http://schemas.microsoft.com/office/drawing/2014/main" id="{893F7001-9D11-1CD0-34D6-CD75DC961766}"/>
              </a:ext>
            </a:extLst>
          </p:cNvPr>
          <p:cNvSpPr/>
          <p:nvPr/>
        </p:nvSpPr>
        <p:spPr>
          <a:xfrm>
            <a:off x="180000" y="3580109"/>
            <a:ext cx="622727" cy="622727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5992" tIns="45709" rIns="35992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e-DE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4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59EC9B3-A7AD-3AE8-DB13-7FC87F43D675}"/>
              </a:ext>
            </a:extLst>
          </p:cNvPr>
          <p:cNvSpPr txBox="1"/>
          <p:nvPr/>
        </p:nvSpPr>
        <p:spPr>
          <a:xfrm>
            <a:off x="889326" y="3691463"/>
            <a:ext cx="6476267" cy="400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1217828">
              <a:buClr>
                <a:schemeClr val="accent2"/>
              </a:buClr>
              <a:defRPr/>
            </a:pPr>
            <a:r>
              <a:rPr lang="en-US" sz="2000" dirty="0"/>
              <a:t>Conclusions &amp; Future Work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0A05342-DCE1-051D-5F25-89A2E4963C4E}"/>
              </a:ext>
            </a:extLst>
          </p:cNvPr>
          <p:cNvCxnSpPr>
            <a:cxnSpLocks/>
          </p:cNvCxnSpPr>
          <p:nvPr/>
        </p:nvCxnSpPr>
        <p:spPr>
          <a:xfrm flipH="1" flipV="1">
            <a:off x="5327900" y="3887052"/>
            <a:ext cx="2591439" cy="8841"/>
          </a:xfrm>
          <a:prstGeom prst="line">
            <a:avLst/>
          </a:prstGeom>
          <a:ln w="19050">
            <a:gradFill flip="none" rotWithShape="1">
              <a:gsLst>
                <a:gs pos="100000">
                  <a:schemeClr val="bg2"/>
                </a:gs>
                <a:gs pos="0">
                  <a:schemeClr val="accent6"/>
                </a:gs>
              </a:gsLst>
              <a:lin ang="0" scaled="1"/>
              <a:tileRect/>
            </a:gradFill>
            <a:headEnd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6D741CE-619E-4FEB-FF88-682230855AE6}"/>
              </a:ext>
            </a:extLst>
          </p:cNvPr>
          <p:cNvCxnSpPr>
            <a:cxnSpLocks/>
          </p:cNvCxnSpPr>
          <p:nvPr/>
        </p:nvCxnSpPr>
        <p:spPr>
          <a:xfrm flipH="1" flipV="1">
            <a:off x="5327900" y="3156253"/>
            <a:ext cx="2591439" cy="8841"/>
          </a:xfrm>
          <a:prstGeom prst="line">
            <a:avLst/>
          </a:prstGeom>
          <a:ln w="19050">
            <a:gradFill flip="none" rotWithShape="1">
              <a:gsLst>
                <a:gs pos="100000">
                  <a:schemeClr val="bg1"/>
                </a:gs>
                <a:gs pos="0">
                  <a:schemeClr val="accent2"/>
                </a:gs>
              </a:gsLst>
              <a:lin ang="0" scaled="1"/>
              <a:tileRect/>
            </a:gradFill>
            <a:headEnd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896755B-FC8A-09D7-FC35-2C5555E2AD0B}"/>
              </a:ext>
            </a:extLst>
          </p:cNvPr>
          <p:cNvCxnSpPr>
            <a:cxnSpLocks/>
          </p:cNvCxnSpPr>
          <p:nvPr/>
        </p:nvCxnSpPr>
        <p:spPr>
          <a:xfrm flipH="1" flipV="1">
            <a:off x="5327900" y="2425454"/>
            <a:ext cx="2591439" cy="8841"/>
          </a:xfrm>
          <a:prstGeom prst="line">
            <a:avLst/>
          </a:prstGeom>
          <a:ln w="19050">
            <a:gradFill flip="none" rotWithShape="1">
              <a:gsLst>
                <a:gs pos="100000">
                  <a:schemeClr val="bg2"/>
                </a:gs>
                <a:gs pos="0">
                  <a:srgbClr val="009FEA"/>
                </a:gs>
              </a:gsLst>
              <a:lin ang="0" scaled="1"/>
              <a:tileRect/>
            </a:gradFill>
            <a:headEnd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2625FAC-3327-972A-C53D-F7FCE7CEE429}"/>
              </a:ext>
            </a:extLst>
          </p:cNvPr>
          <p:cNvCxnSpPr>
            <a:cxnSpLocks/>
          </p:cNvCxnSpPr>
          <p:nvPr/>
        </p:nvCxnSpPr>
        <p:spPr>
          <a:xfrm flipH="1" flipV="1">
            <a:off x="5327900" y="1694655"/>
            <a:ext cx="2591439" cy="8841"/>
          </a:xfrm>
          <a:prstGeom prst="line">
            <a:avLst/>
          </a:prstGeom>
          <a:ln w="19050">
            <a:gradFill flip="none" rotWithShape="1">
              <a:gsLst>
                <a:gs pos="100000">
                  <a:schemeClr val="bg2"/>
                </a:gs>
                <a:gs pos="0">
                  <a:schemeClr val="accent3"/>
                </a:gs>
              </a:gsLst>
              <a:lin ang="0" scaled="1"/>
              <a:tileRect/>
            </a:gradFill>
            <a:headEnd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0516145-5E73-2ECE-FD8F-9E805EB061D3}"/>
              </a:ext>
            </a:extLst>
          </p:cNvPr>
          <p:cNvGrpSpPr/>
          <p:nvPr/>
        </p:nvGrpSpPr>
        <p:grpSpPr>
          <a:xfrm>
            <a:off x="7919339" y="2118511"/>
            <a:ext cx="622727" cy="622727"/>
            <a:chOff x="10575059" y="2143346"/>
            <a:chExt cx="622871" cy="622871"/>
          </a:xfrm>
        </p:grpSpPr>
        <p:sp>
          <p:nvSpPr>
            <p:cNvPr id="30" name="Ellipse 17">
              <a:extLst>
                <a:ext uri="{FF2B5EF4-FFF2-40B4-BE49-F238E27FC236}">
                  <a16:creationId xmlns:a16="http://schemas.microsoft.com/office/drawing/2014/main" id="{E7A884E4-5C9E-F1CB-CF7E-FAC672F0FCB2}"/>
                </a:ext>
              </a:extLst>
            </p:cNvPr>
            <p:cNvSpPr/>
            <p:nvPr/>
          </p:nvSpPr>
          <p:spPr>
            <a:xfrm>
              <a:off x="10575059" y="2143346"/>
              <a:ext cx="622871" cy="622871"/>
            </a:xfrm>
            <a:prstGeom prst="ellipse">
              <a:avLst/>
            </a:prstGeom>
            <a:solidFill>
              <a:srgbClr val="009FE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5992" tIns="45709" rIns="35992" bIns="4570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de-DE" b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1" name="Graphic 30" descr="Aspiration with solid fill">
              <a:extLst>
                <a:ext uri="{FF2B5EF4-FFF2-40B4-BE49-F238E27FC236}">
                  <a16:creationId xmlns:a16="http://schemas.microsoft.com/office/drawing/2014/main" id="{C4D5DEB2-2FEE-B3CD-6158-A114946943F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64592" y="2237315"/>
              <a:ext cx="462397" cy="462397"/>
            </a:xfrm>
            <a:prstGeom prst="rect">
              <a:avLst/>
            </a:prstGeom>
          </p:spPr>
        </p:pic>
      </p:grpSp>
      <p:sp>
        <p:nvSpPr>
          <p:cNvPr id="32" name="Ellipse 18">
            <a:extLst>
              <a:ext uri="{FF2B5EF4-FFF2-40B4-BE49-F238E27FC236}">
                <a16:creationId xmlns:a16="http://schemas.microsoft.com/office/drawing/2014/main" id="{5725CD39-C5A7-5413-647A-83006C432DC9}"/>
              </a:ext>
            </a:extLst>
          </p:cNvPr>
          <p:cNvSpPr/>
          <p:nvPr/>
        </p:nvSpPr>
        <p:spPr>
          <a:xfrm>
            <a:off x="7919339" y="3580109"/>
            <a:ext cx="622727" cy="622727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5992" tIns="45709" rIns="35992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de-DE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Ellipse 18">
            <a:extLst>
              <a:ext uri="{FF2B5EF4-FFF2-40B4-BE49-F238E27FC236}">
                <a16:creationId xmlns:a16="http://schemas.microsoft.com/office/drawing/2014/main" id="{218F8B6A-98DF-C64E-88F0-57CC244CBA67}"/>
              </a:ext>
            </a:extLst>
          </p:cNvPr>
          <p:cNvSpPr/>
          <p:nvPr/>
        </p:nvSpPr>
        <p:spPr>
          <a:xfrm>
            <a:off x="7919339" y="2849310"/>
            <a:ext cx="622727" cy="622727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5992" tIns="45709" rIns="35992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de-DE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Ellipse 16">
            <a:extLst>
              <a:ext uri="{FF2B5EF4-FFF2-40B4-BE49-F238E27FC236}">
                <a16:creationId xmlns:a16="http://schemas.microsoft.com/office/drawing/2014/main" id="{5A1AC293-8D32-85B2-6612-486746B60CF5}"/>
              </a:ext>
            </a:extLst>
          </p:cNvPr>
          <p:cNvSpPr/>
          <p:nvPr/>
        </p:nvSpPr>
        <p:spPr>
          <a:xfrm>
            <a:off x="7919339" y="1387712"/>
            <a:ext cx="622727" cy="62272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5992" tIns="45709" rIns="35992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de-DE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F6D8241-4E76-4A3E-9816-91F127E820D6}"/>
              </a:ext>
            </a:extLst>
          </p:cNvPr>
          <p:cNvSpPr txBox="1"/>
          <p:nvPr/>
        </p:nvSpPr>
        <p:spPr>
          <a:xfrm>
            <a:off x="889326" y="1507907"/>
            <a:ext cx="6347892" cy="400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1217828">
              <a:buClr>
                <a:schemeClr val="accent2"/>
              </a:buClr>
              <a:defRPr/>
            </a:pPr>
            <a:r>
              <a:rPr lang="en-US" sz="2000" dirty="0"/>
              <a:t>Project Introduc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780283-C86E-B7D1-AECE-185247C755FA}"/>
              </a:ext>
            </a:extLst>
          </p:cNvPr>
          <p:cNvSpPr txBox="1"/>
          <p:nvPr/>
        </p:nvSpPr>
        <p:spPr>
          <a:xfrm>
            <a:off x="889326" y="2229865"/>
            <a:ext cx="6347892" cy="400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1217828">
              <a:buClr>
                <a:schemeClr val="accent2"/>
              </a:buClr>
              <a:defRPr/>
            </a:pPr>
            <a:r>
              <a:rPr lang="en-US" sz="2000" dirty="0"/>
              <a:t>Current State of the Art &amp; Related Work</a:t>
            </a:r>
          </a:p>
        </p:txBody>
      </p:sp>
      <p:pic>
        <p:nvPicPr>
          <p:cNvPr id="44" name="Graphic 43" descr="Workflow with solid fill">
            <a:extLst>
              <a:ext uri="{FF2B5EF4-FFF2-40B4-BE49-F238E27FC236}">
                <a16:creationId xmlns:a16="http://schemas.microsoft.com/office/drawing/2014/main" id="{5BD2A135-5F1A-65AD-4DB4-2A3BF498006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19338" y="2839535"/>
            <a:ext cx="622727" cy="622727"/>
          </a:xfrm>
          <a:prstGeom prst="rect">
            <a:avLst/>
          </a:prstGeom>
        </p:spPr>
      </p:pic>
      <p:pic>
        <p:nvPicPr>
          <p:cNvPr id="46" name="Graphic 45" descr="Artificial Intelligence with solid fill">
            <a:extLst>
              <a:ext uri="{FF2B5EF4-FFF2-40B4-BE49-F238E27FC236}">
                <a16:creationId xmlns:a16="http://schemas.microsoft.com/office/drawing/2014/main" id="{11F9101B-D246-B8A2-11CA-F54F79C842B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967282" y="3599660"/>
            <a:ext cx="574784" cy="574784"/>
          </a:xfrm>
          <a:prstGeom prst="rect">
            <a:avLst/>
          </a:prstGeom>
        </p:spPr>
      </p:pic>
      <p:pic>
        <p:nvPicPr>
          <p:cNvPr id="48" name="Graphic 47" descr="Wave Gesture with solid fill">
            <a:extLst>
              <a:ext uri="{FF2B5EF4-FFF2-40B4-BE49-F238E27FC236}">
                <a16:creationId xmlns:a16="http://schemas.microsoft.com/office/drawing/2014/main" id="{B1DAD8F4-A60C-FAB9-E02A-B15D82DA6DC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995825" y="1481961"/>
            <a:ext cx="483740" cy="483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1022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2D3BF9C-31DC-5CEC-E446-DD13E785DB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4051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D3BF9C-31DC-5CEC-E446-DD13E785D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DC06E3-090D-1EFE-858E-F438A81CD7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AT" dirty="0"/>
              <a:t>Project </a:t>
            </a:r>
            <a:r>
              <a:rPr lang="de-AT" dirty="0" err="1"/>
              <a:t>Introduction</a:t>
            </a:r>
            <a:endParaRPr lang="de-A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B9EBEF-2525-D366-0053-33308063894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NLP Project | Project Proposition | March 2024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66EED6-1BD7-194D-043C-23D3018E1C6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057DB4-583E-41A7-BD94-987342018C17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E4D2D22-0A2C-8C05-1733-80A6521DD06D}"/>
              </a:ext>
            </a:extLst>
          </p:cNvPr>
          <p:cNvSpPr/>
          <p:nvPr/>
        </p:nvSpPr>
        <p:spPr>
          <a:xfrm>
            <a:off x="353830" y="1422657"/>
            <a:ext cx="2065952" cy="307619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144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51460" lvl="1" indent="-251460">
              <a:lnSpc>
                <a:spcPct val="90000"/>
              </a:lnSpc>
              <a:spcBef>
                <a:spcPts val="600"/>
              </a:spcBef>
              <a:buClr>
                <a:srgbClr val="66CC00"/>
              </a:buClr>
              <a:buSzPct val="90000"/>
              <a:buFont typeface="Arial" panose="020B0604020202020204" pitchFamily="34" charset="0"/>
              <a:buChar char="●"/>
            </a:pPr>
            <a:r>
              <a:rPr lang="en-US" sz="9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b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2455E5A-1AE2-21D4-3F89-D96EB6203E2D}"/>
              </a:ext>
            </a:extLst>
          </p:cNvPr>
          <p:cNvSpPr/>
          <p:nvPr/>
        </p:nvSpPr>
        <p:spPr>
          <a:xfrm rot="5400000">
            <a:off x="1187325" y="368336"/>
            <a:ext cx="398960" cy="137100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lnSpc>
                <a:spcPct val="90000"/>
              </a:lnSpc>
              <a:spcBef>
                <a:spcPts val="600"/>
              </a:spcBef>
              <a:buClr>
                <a:srgbClr val="66CC00"/>
              </a:buClr>
              <a:buSzPct val="90000"/>
            </a:pPr>
            <a:r>
              <a:rPr lang="en-US" sz="1000" b="1" dirty="0"/>
              <a:t>The Idea</a:t>
            </a:r>
          </a:p>
        </p:txBody>
      </p:sp>
      <p:pic>
        <p:nvPicPr>
          <p:cNvPr id="16" name="Graphic 15" descr="Group brainstorm with solid fill">
            <a:extLst>
              <a:ext uri="{FF2B5EF4-FFF2-40B4-BE49-F238E27FC236}">
                <a16:creationId xmlns:a16="http://schemas.microsoft.com/office/drawing/2014/main" id="{9EBFD52F-D615-3132-A282-32599F0E076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4272" y="838685"/>
            <a:ext cx="430303" cy="430303"/>
          </a:xfrm>
          <a:prstGeom prst="rect">
            <a:avLst/>
          </a:prstGeom>
        </p:spPr>
      </p:pic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BB194940-CAFE-F493-6C20-7C815E1863F2}"/>
              </a:ext>
            </a:extLst>
          </p:cNvPr>
          <p:cNvSpPr/>
          <p:nvPr/>
        </p:nvSpPr>
        <p:spPr>
          <a:xfrm rot="5400000">
            <a:off x="4366681" y="2970461"/>
            <a:ext cx="1903949" cy="33091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12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4594878-8BDC-4FB8-8BAA-BE310792415F}"/>
              </a:ext>
            </a:extLst>
          </p:cNvPr>
          <p:cNvSpPr/>
          <p:nvPr/>
        </p:nvSpPr>
        <p:spPr>
          <a:xfrm>
            <a:off x="2836243" y="1422657"/>
            <a:ext cx="2065952" cy="307619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144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51460" lvl="1" indent="-251460">
              <a:lnSpc>
                <a:spcPct val="90000"/>
              </a:lnSpc>
              <a:spcBef>
                <a:spcPts val="600"/>
              </a:spcBef>
              <a:buClr>
                <a:srgbClr val="66CC00"/>
              </a:buClr>
              <a:buSzPct val="90000"/>
              <a:buFont typeface="Arial" panose="020B0604020202020204" pitchFamily="34" charset="0"/>
              <a:buChar char="●"/>
            </a:pPr>
            <a:endParaRPr lang="en-US" sz="9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E918811-AEDC-07C8-DBC3-39C9BB2DC327}"/>
              </a:ext>
            </a:extLst>
          </p:cNvPr>
          <p:cNvSpPr/>
          <p:nvPr/>
        </p:nvSpPr>
        <p:spPr>
          <a:xfrm rot="5400000">
            <a:off x="3669738" y="368336"/>
            <a:ext cx="398960" cy="137100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lnSpc>
                <a:spcPct val="90000"/>
              </a:lnSpc>
              <a:spcBef>
                <a:spcPts val="600"/>
              </a:spcBef>
              <a:buClr>
                <a:srgbClr val="66CC00"/>
              </a:buClr>
              <a:buSzPct val="90000"/>
            </a:pPr>
            <a:r>
              <a:rPr lang="en-US" sz="1000" b="1" dirty="0"/>
              <a:t>The Team</a:t>
            </a:r>
          </a:p>
        </p:txBody>
      </p:sp>
      <p:pic>
        <p:nvPicPr>
          <p:cNvPr id="24" name="Graphic 23" descr="Group brainstorm with solid fill">
            <a:extLst>
              <a:ext uri="{FF2B5EF4-FFF2-40B4-BE49-F238E27FC236}">
                <a16:creationId xmlns:a16="http://schemas.microsoft.com/office/drawing/2014/main" id="{2ADF35DC-E5E5-638D-45EC-670396F9C3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36685" y="838685"/>
            <a:ext cx="430303" cy="430303"/>
          </a:xfrm>
          <a:prstGeom prst="rect">
            <a:avLst/>
          </a:prstGeom>
        </p:spPr>
      </p:pic>
      <p:sp>
        <p:nvSpPr>
          <p:cNvPr id="25" name="Plus Sign 24">
            <a:extLst>
              <a:ext uri="{FF2B5EF4-FFF2-40B4-BE49-F238E27FC236}">
                <a16:creationId xmlns:a16="http://schemas.microsoft.com/office/drawing/2014/main" id="{6939671F-A64B-887A-D8DB-098F4BF2FA65}"/>
              </a:ext>
            </a:extLst>
          </p:cNvPr>
          <p:cNvSpPr/>
          <p:nvPr/>
        </p:nvSpPr>
        <p:spPr>
          <a:xfrm>
            <a:off x="2485708" y="2993612"/>
            <a:ext cx="284608" cy="284608"/>
          </a:xfrm>
          <a:prstGeom prst="mathPlu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353873F-850E-F051-0C01-452E3F554244}"/>
              </a:ext>
            </a:extLst>
          </p:cNvPr>
          <p:cNvSpPr/>
          <p:nvPr/>
        </p:nvSpPr>
        <p:spPr>
          <a:xfrm>
            <a:off x="6476114" y="1422657"/>
            <a:ext cx="2065952" cy="307619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144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51460" lvl="1" indent="-251460">
              <a:lnSpc>
                <a:spcPct val="90000"/>
              </a:lnSpc>
              <a:spcBef>
                <a:spcPts val="600"/>
              </a:spcBef>
              <a:buClr>
                <a:srgbClr val="66CC00"/>
              </a:buClr>
              <a:buSzPct val="90000"/>
              <a:buFont typeface="Arial" panose="020B0604020202020204" pitchFamily="34" charset="0"/>
              <a:buChar char="●"/>
            </a:pPr>
            <a:r>
              <a:rPr lang="en-US" sz="9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b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D91D1FD-3875-9C2A-F4C4-1E9AF708468D}"/>
              </a:ext>
            </a:extLst>
          </p:cNvPr>
          <p:cNvSpPr/>
          <p:nvPr/>
        </p:nvSpPr>
        <p:spPr>
          <a:xfrm rot="5400000">
            <a:off x="7309609" y="368336"/>
            <a:ext cx="398960" cy="137100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lnSpc>
                <a:spcPct val="90000"/>
              </a:lnSpc>
              <a:spcBef>
                <a:spcPts val="600"/>
              </a:spcBef>
              <a:buClr>
                <a:srgbClr val="66CC00"/>
              </a:buClr>
              <a:buSzPct val="90000"/>
            </a:pPr>
            <a:r>
              <a:rPr lang="en-US" sz="1000" b="1" dirty="0"/>
              <a:t>Our Project</a:t>
            </a:r>
          </a:p>
        </p:txBody>
      </p:sp>
      <p:pic>
        <p:nvPicPr>
          <p:cNvPr id="29" name="Graphic 28" descr="Group brainstorm with solid fill">
            <a:extLst>
              <a:ext uri="{FF2B5EF4-FFF2-40B4-BE49-F238E27FC236}">
                <a16:creationId xmlns:a16="http://schemas.microsoft.com/office/drawing/2014/main" id="{9114B558-9A6F-89FB-2282-BA0D9EB071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76556" y="838685"/>
            <a:ext cx="430303" cy="430303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03B8D7EB-6890-543D-BAFC-6FE3DAB4E875}"/>
              </a:ext>
            </a:extLst>
          </p:cNvPr>
          <p:cNvGrpSpPr/>
          <p:nvPr/>
        </p:nvGrpSpPr>
        <p:grpSpPr>
          <a:xfrm>
            <a:off x="3163004" y="1537587"/>
            <a:ext cx="1258802" cy="911447"/>
            <a:chOff x="3273291" y="3348392"/>
            <a:chExt cx="1258802" cy="911447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D8E867C-1880-1EDA-4440-D2658847659B}"/>
                </a:ext>
              </a:extLst>
            </p:cNvPr>
            <p:cNvSpPr/>
            <p:nvPr/>
          </p:nvSpPr>
          <p:spPr>
            <a:xfrm>
              <a:off x="3593508" y="3348392"/>
              <a:ext cx="665386" cy="665384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AT" sz="7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3D372CC-D6F6-B1F8-2A8C-A3C3BBCEEAB4}"/>
                </a:ext>
              </a:extLst>
            </p:cNvPr>
            <p:cNvSpPr txBox="1"/>
            <p:nvPr/>
          </p:nvSpPr>
          <p:spPr>
            <a:xfrm>
              <a:off x="3273291" y="4001307"/>
              <a:ext cx="1258802" cy="2585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91440" tIns="45720" rIns="3600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91281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</a:pPr>
              <a:r>
                <a:rPr lang="de-AT" sz="600" b="1" dirty="0"/>
                <a:t>Bodowin Bittner</a:t>
              </a:r>
              <a:br>
                <a:rPr lang="de-AT" sz="600" b="1" dirty="0"/>
              </a:br>
              <a:r>
                <a:rPr lang="de-AT" sz="600" b="1" dirty="0"/>
                <a:t>Pre-Processing &amp; </a:t>
              </a:r>
              <a:r>
                <a:rPr lang="de-AT" sz="600" b="1" dirty="0" err="1"/>
                <a:t>Presentation</a:t>
              </a:r>
              <a:endParaRPr lang="de-AT" sz="600" b="1" dirty="0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33E37E9E-711F-BA0A-3D41-73186CCB5B44}"/>
                </a:ext>
              </a:extLst>
            </p:cNvPr>
            <p:cNvSpPr/>
            <p:nvPr/>
          </p:nvSpPr>
          <p:spPr>
            <a:xfrm>
              <a:off x="3621025" y="3375908"/>
              <a:ext cx="610352" cy="61035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AT" sz="7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2" name="Picture 2" descr="profile image">
              <a:extLst>
                <a:ext uri="{FF2B5EF4-FFF2-40B4-BE49-F238E27FC236}">
                  <a16:creationId xmlns:a16="http://schemas.microsoft.com/office/drawing/2014/main" id="{F8ABF8C6-9F42-506F-ADAF-7817344CCD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8646" y="3393528"/>
              <a:ext cx="575110" cy="575110"/>
            </a:xfrm>
            <a:prstGeom prst="ellipse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78F5DEF-1B11-B145-295B-7DAF6729C119}"/>
              </a:ext>
            </a:extLst>
          </p:cNvPr>
          <p:cNvGrpSpPr/>
          <p:nvPr/>
        </p:nvGrpSpPr>
        <p:grpSpPr>
          <a:xfrm>
            <a:off x="3298351" y="2518018"/>
            <a:ext cx="989498" cy="911447"/>
            <a:chOff x="3407945" y="3348392"/>
            <a:chExt cx="989498" cy="911447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3E61C409-051D-37A6-B2BF-8051367EBF47}"/>
                </a:ext>
              </a:extLst>
            </p:cNvPr>
            <p:cNvSpPr/>
            <p:nvPr/>
          </p:nvSpPr>
          <p:spPr>
            <a:xfrm>
              <a:off x="3593508" y="3348392"/>
              <a:ext cx="665386" cy="665384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AT" sz="7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D130281-62AA-9813-EDCD-099568479D1F}"/>
                </a:ext>
              </a:extLst>
            </p:cNvPr>
            <p:cNvSpPr txBox="1"/>
            <p:nvPr/>
          </p:nvSpPr>
          <p:spPr>
            <a:xfrm>
              <a:off x="3407945" y="4001307"/>
              <a:ext cx="989498" cy="2585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91440" tIns="45720" rIns="3600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91281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</a:pPr>
              <a:r>
                <a:rPr lang="de-AT" sz="600" b="1" dirty="0" err="1"/>
                <a:t>Marcon</a:t>
              </a:r>
              <a:r>
                <a:rPr lang="de-AT" sz="600" b="1" dirty="0"/>
                <a:t> Elias</a:t>
              </a:r>
              <a:br>
                <a:rPr lang="de-AT" sz="600" b="1" dirty="0"/>
              </a:br>
              <a:r>
                <a:rPr lang="de-AT" sz="600" b="1" dirty="0"/>
                <a:t>BERT Model Evaluation</a:t>
              </a: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0F1D2489-98C2-AE7B-0D90-3BCF7C8DDB5A}"/>
                </a:ext>
              </a:extLst>
            </p:cNvPr>
            <p:cNvSpPr/>
            <p:nvPr/>
          </p:nvSpPr>
          <p:spPr>
            <a:xfrm>
              <a:off x="3621025" y="3375908"/>
              <a:ext cx="610352" cy="61035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AT" sz="7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5A11502-C8F9-E479-F17E-B8C85EBB0C63}"/>
              </a:ext>
            </a:extLst>
          </p:cNvPr>
          <p:cNvGrpSpPr/>
          <p:nvPr/>
        </p:nvGrpSpPr>
        <p:grpSpPr>
          <a:xfrm>
            <a:off x="3035569" y="3551741"/>
            <a:ext cx="1513679" cy="911447"/>
            <a:chOff x="3145856" y="3348392"/>
            <a:chExt cx="1513679" cy="911447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7853A32-43F5-3C57-D89E-E27620A172BD}"/>
                </a:ext>
              </a:extLst>
            </p:cNvPr>
            <p:cNvSpPr/>
            <p:nvPr/>
          </p:nvSpPr>
          <p:spPr>
            <a:xfrm>
              <a:off x="3593508" y="3348392"/>
              <a:ext cx="665386" cy="665384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AT" sz="7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9C2211C-305F-3681-FEEB-A2A0EDB649D7}"/>
                </a:ext>
              </a:extLst>
            </p:cNvPr>
            <p:cNvSpPr txBox="1"/>
            <p:nvPr/>
          </p:nvSpPr>
          <p:spPr>
            <a:xfrm>
              <a:off x="3145856" y="4001307"/>
              <a:ext cx="1513679" cy="2585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91440" tIns="45720" rIns="3600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91281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</a:pPr>
              <a:r>
                <a:rPr lang="de-AT" sz="600" b="1" dirty="0" err="1"/>
                <a:t>Langela</a:t>
              </a:r>
              <a:r>
                <a:rPr lang="de-AT" sz="600" b="1" dirty="0"/>
                <a:t> </a:t>
              </a:r>
              <a:r>
                <a:rPr lang="de-AT" sz="600" b="1" dirty="0" err="1"/>
                <a:t>Regincos</a:t>
              </a:r>
              <a:r>
                <a:rPr lang="de-AT" sz="600" b="1" dirty="0"/>
                <a:t> Jan</a:t>
              </a:r>
              <a:br>
                <a:rPr lang="de-AT" sz="600" b="1" dirty="0"/>
              </a:br>
              <a:r>
                <a:rPr lang="de-AT" sz="600" b="1" dirty="0" err="1"/>
                <a:t>Logistic</a:t>
              </a:r>
              <a:r>
                <a:rPr lang="de-AT" sz="600" b="1" dirty="0"/>
                <a:t> Regression Model Evaluation</a:t>
              </a: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932A05C0-92C8-BFCB-7CA9-DA18819DC9D2}"/>
                </a:ext>
              </a:extLst>
            </p:cNvPr>
            <p:cNvSpPr/>
            <p:nvPr/>
          </p:nvSpPr>
          <p:spPr>
            <a:xfrm>
              <a:off x="3621025" y="3375908"/>
              <a:ext cx="610352" cy="61035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AT" sz="7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36569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B79E7A5-B97E-E60F-FB79-7947CD67BD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9386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79E7A5-B97E-E60F-FB79-7947CD67BD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1BAF9D-6E9E-9429-FB70-E10C16E35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AT" dirty="0"/>
              <a:t>Current State of the Art &amp; </a:t>
            </a:r>
            <a:r>
              <a:rPr lang="de-AT" dirty="0" err="1"/>
              <a:t>Related</a:t>
            </a:r>
            <a:r>
              <a:rPr lang="de-AT" dirty="0"/>
              <a:t> Wor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BB7582-8615-9F89-E88E-2D817187422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NLP Project | Project Proposition | March 2024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C3FEDE-5A22-002A-C36E-D3BCA5B9C3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057DB4-583E-41A7-BD94-987342018C17}" type="slidenum">
              <a:rPr lang="en-GB" smtClean="0"/>
              <a:pPr/>
              <a:t>4</a:t>
            </a:fld>
            <a:endParaRPr lang="en-GB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3B15D5C-B0BB-C388-9791-AB516ECF6A3E}"/>
              </a:ext>
            </a:extLst>
          </p:cNvPr>
          <p:cNvGrpSpPr/>
          <p:nvPr/>
        </p:nvGrpSpPr>
        <p:grpSpPr>
          <a:xfrm>
            <a:off x="323516" y="2506936"/>
            <a:ext cx="1824451" cy="427324"/>
            <a:chOff x="481671" y="3429794"/>
            <a:chExt cx="2351620" cy="550799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8A02FE2-A9AC-CDB2-C35C-4D12753C4FFC}"/>
                </a:ext>
              </a:extLst>
            </p:cNvPr>
            <p:cNvSpPr txBox="1"/>
            <p:nvPr/>
          </p:nvSpPr>
          <p:spPr>
            <a:xfrm>
              <a:off x="481671" y="3429794"/>
              <a:ext cx="2246475" cy="33720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 dirty="0">
                  <a:latin typeface="Arial" pitchFamily="34" charset="0"/>
                  <a:cs typeface="Arial" pitchFamily="34" charset="0"/>
                </a:rPr>
                <a:t>tbd</a:t>
              </a:r>
              <a:endParaRPr lang="en-US" sz="1050" b="1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E2B7CCC-45DF-5F5A-B5C9-E36ECD39D555}"/>
                </a:ext>
              </a:extLst>
            </p:cNvPr>
            <p:cNvSpPr txBox="1"/>
            <p:nvPr/>
          </p:nvSpPr>
          <p:spPr>
            <a:xfrm>
              <a:off x="481671" y="3736647"/>
              <a:ext cx="2351620" cy="2439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35992" bIns="45709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51950" indent="-251950" defTabSz="912630">
                <a:lnSpc>
                  <a:spcPct val="90000"/>
                </a:lnSpc>
                <a:spcBef>
                  <a:spcPts val="600"/>
                </a:spcBef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</a:pPr>
              <a:r>
                <a:rPr lang="en-US" sz="700" dirty="0"/>
                <a:t>tbd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0BE2191-176C-C479-7A3E-8902D0D66836}"/>
              </a:ext>
            </a:extLst>
          </p:cNvPr>
          <p:cNvGrpSpPr/>
          <p:nvPr/>
        </p:nvGrpSpPr>
        <p:grpSpPr>
          <a:xfrm>
            <a:off x="323515" y="1137818"/>
            <a:ext cx="2358217" cy="3095508"/>
            <a:chOff x="481670" y="1665071"/>
            <a:chExt cx="3039617" cy="398994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A95FC24-928F-35B8-BC41-C78A3C2C982E}"/>
                </a:ext>
              </a:extLst>
            </p:cNvPr>
            <p:cNvSpPr txBox="1"/>
            <p:nvPr/>
          </p:nvSpPr>
          <p:spPr>
            <a:xfrm>
              <a:off x="481671" y="5104216"/>
              <a:ext cx="2878750" cy="3372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 dirty="0">
                  <a:latin typeface="Arial" pitchFamily="34" charset="0"/>
                  <a:cs typeface="Arial" pitchFamily="34" charset="0"/>
                </a:rPr>
                <a:t>tbd</a:t>
              </a:r>
              <a:endParaRPr lang="en-US" sz="1050" b="1" dirty="0"/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7B7DC63-C8F9-5B85-BBE5-BAA53C6F3E73}"/>
                </a:ext>
              </a:extLst>
            </p:cNvPr>
            <p:cNvGrpSpPr/>
            <p:nvPr/>
          </p:nvGrpSpPr>
          <p:grpSpPr>
            <a:xfrm>
              <a:off x="481670" y="1665071"/>
              <a:ext cx="3039617" cy="550799"/>
              <a:chOff x="481670" y="1665071"/>
              <a:chExt cx="3039617" cy="550799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B8D89D20-4CA1-CD7C-DC84-D10725069D09}"/>
                  </a:ext>
                </a:extLst>
              </p:cNvPr>
              <p:cNvSpPr txBox="1"/>
              <p:nvPr/>
            </p:nvSpPr>
            <p:spPr>
              <a:xfrm>
                <a:off x="481671" y="1665071"/>
                <a:ext cx="2878750" cy="33720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050" b="1" dirty="0">
                    <a:latin typeface="Arial" pitchFamily="34" charset="0"/>
                    <a:cs typeface="Arial" pitchFamily="34" charset="0"/>
                  </a:rPr>
                  <a:t>tbd</a:t>
                </a:r>
                <a:endParaRPr lang="en-US" sz="1050" b="1" dirty="0"/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F1345422-580B-C1EB-3296-7380C4CDC16F}"/>
                  </a:ext>
                </a:extLst>
              </p:cNvPr>
              <p:cNvSpPr txBox="1"/>
              <p:nvPr/>
            </p:nvSpPr>
            <p:spPr>
              <a:xfrm>
                <a:off x="481670" y="1971924"/>
                <a:ext cx="3039617" cy="2439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35992" bIns="45709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251950" indent="-251950" defTabSz="912630">
                  <a:lnSpc>
                    <a:spcPct val="90000"/>
                  </a:lnSpc>
                  <a:spcBef>
                    <a:spcPts val="600"/>
                  </a:spcBef>
                  <a:buClr>
                    <a:schemeClr val="accent2"/>
                  </a:buClr>
                  <a:buSzPct val="100000"/>
                  <a:buFont typeface="Arial" panose="020B0604020202020204" pitchFamily="34" charset="0"/>
                  <a:buChar char="●"/>
                </a:pPr>
                <a:r>
                  <a:rPr lang="en-US" sz="700" dirty="0"/>
                  <a:t>tbd</a:t>
                </a: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7A2F3EA-0D68-11CE-7CC9-679EB68B4630}"/>
                </a:ext>
              </a:extLst>
            </p:cNvPr>
            <p:cNvSpPr txBox="1"/>
            <p:nvPr/>
          </p:nvSpPr>
          <p:spPr>
            <a:xfrm>
              <a:off x="481671" y="5411070"/>
              <a:ext cx="2878750" cy="2439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35992" bIns="45709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51950" indent="-251950" defTabSz="912630">
                <a:lnSpc>
                  <a:spcPct val="90000"/>
                </a:lnSpc>
                <a:spcBef>
                  <a:spcPts val="600"/>
                </a:spcBef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</a:pPr>
              <a:r>
                <a:rPr lang="en-US" sz="700" dirty="0"/>
                <a:t>tbd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B6FA332-F1E2-B3F7-E8BB-8F56E533D83B}"/>
              </a:ext>
            </a:extLst>
          </p:cNvPr>
          <p:cNvGrpSpPr/>
          <p:nvPr/>
        </p:nvGrpSpPr>
        <p:grpSpPr>
          <a:xfrm>
            <a:off x="6153368" y="3805999"/>
            <a:ext cx="2233412" cy="427326"/>
            <a:chOff x="7950313" y="5104216"/>
            <a:chExt cx="2878750" cy="550800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7767800-72EB-3036-BC26-2A8421D20D59}"/>
                </a:ext>
              </a:extLst>
            </p:cNvPr>
            <p:cNvSpPr txBox="1"/>
            <p:nvPr/>
          </p:nvSpPr>
          <p:spPr>
            <a:xfrm>
              <a:off x="7950313" y="5104216"/>
              <a:ext cx="2878750" cy="3372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 dirty="0">
                  <a:latin typeface="Arial" pitchFamily="34" charset="0"/>
                  <a:cs typeface="Arial" pitchFamily="34" charset="0"/>
                </a:rPr>
                <a:t>tbd</a:t>
              </a:r>
              <a:endParaRPr lang="en-US" sz="1050" b="1" dirty="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10738D3-F136-E8E5-93CE-D11C3F371EA5}"/>
                </a:ext>
              </a:extLst>
            </p:cNvPr>
            <p:cNvSpPr txBox="1"/>
            <p:nvPr/>
          </p:nvSpPr>
          <p:spPr>
            <a:xfrm>
              <a:off x="7950313" y="5411070"/>
              <a:ext cx="2878750" cy="2439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35992" bIns="45709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51950" indent="-251950" defTabSz="912630">
                <a:lnSpc>
                  <a:spcPct val="90000"/>
                </a:lnSpc>
                <a:spcBef>
                  <a:spcPts val="600"/>
                </a:spcBef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</a:pPr>
              <a:r>
                <a:rPr lang="en-US" sz="700" dirty="0"/>
                <a:t>tbd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F3B6DEB-E2F1-AC0A-D8D6-A0845B7BBE00}"/>
              </a:ext>
            </a:extLst>
          </p:cNvPr>
          <p:cNvGrpSpPr/>
          <p:nvPr/>
        </p:nvGrpSpPr>
        <p:grpSpPr>
          <a:xfrm>
            <a:off x="6796135" y="2506940"/>
            <a:ext cx="2024351" cy="571697"/>
            <a:chOff x="9106811" y="3551732"/>
            <a:chExt cx="2609281" cy="736886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FA64D40-9DE1-27AE-9740-10CA7864D157}"/>
                </a:ext>
              </a:extLst>
            </p:cNvPr>
            <p:cNvSpPr txBox="1"/>
            <p:nvPr/>
          </p:nvSpPr>
          <p:spPr>
            <a:xfrm>
              <a:off x="9106811" y="3551732"/>
              <a:ext cx="2609281" cy="3272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 dirty="0">
                  <a:latin typeface="Arial" pitchFamily="34" charset="0"/>
                  <a:cs typeface="Arial" pitchFamily="34" charset="0"/>
                </a:rPr>
                <a:t>tbd</a:t>
              </a:r>
              <a:endParaRPr lang="en-US" sz="1050" b="1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7C770D7-E0B2-6F66-9B29-ECC01DB1426B}"/>
                </a:ext>
              </a:extLst>
            </p:cNvPr>
            <p:cNvSpPr txBox="1"/>
            <p:nvPr/>
          </p:nvSpPr>
          <p:spPr>
            <a:xfrm>
              <a:off x="9106812" y="4044672"/>
              <a:ext cx="2228313" cy="2439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35992" bIns="45709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51950" indent="-251950" defTabSz="912630">
                <a:lnSpc>
                  <a:spcPct val="90000"/>
                </a:lnSpc>
                <a:spcBef>
                  <a:spcPts val="600"/>
                </a:spcBef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</a:pPr>
              <a:r>
                <a:rPr lang="en-US" sz="700" dirty="0"/>
                <a:t>tbd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11C0EA4-861F-853E-1B56-D5ABBEED81E4}"/>
              </a:ext>
            </a:extLst>
          </p:cNvPr>
          <p:cNvGrpSpPr/>
          <p:nvPr/>
        </p:nvGrpSpPr>
        <p:grpSpPr>
          <a:xfrm>
            <a:off x="6153368" y="1009819"/>
            <a:ext cx="2533301" cy="555324"/>
            <a:chOff x="8450802" y="1500087"/>
            <a:chExt cx="3265291" cy="715783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6663FD8-D13B-8EB2-64D0-903887BE1312}"/>
                </a:ext>
              </a:extLst>
            </p:cNvPr>
            <p:cNvSpPr txBox="1"/>
            <p:nvPr/>
          </p:nvSpPr>
          <p:spPr>
            <a:xfrm>
              <a:off x="8450802" y="1500087"/>
              <a:ext cx="3265291" cy="3272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 dirty="0">
                  <a:latin typeface="Arial" pitchFamily="34" charset="0"/>
                  <a:cs typeface="Arial" pitchFamily="34" charset="0"/>
                </a:rPr>
                <a:t>tbd</a:t>
              </a:r>
              <a:endParaRPr lang="en-US" sz="1050" b="1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CF22D49-0D78-42EF-AD80-7F2AB1FF9A6A}"/>
                </a:ext>
              </a:extLst>
            </p:cNvPr>
            <p:cNvSpPr txBox="1"/>
            <p:nvPr/>
          </p:nvSpPr>
          <p:spPr>
            <a:xfrm>
              <a:off x="8450803" y="1971924"/>
              <a:ext cx="2878750" cy="2439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35992" bIns="45709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51950" indent="-251950" defTabSz="912630">
                <a:lnSpc>
                  <a:spcPct val="90000"/>
                </a:lnSpc>
                <a:spcBef>
                  <a:spcPts val="600"/>
                </a:spcBef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</a:pPr>
              <a:r>
                <a:rPr lang="en-US" sz="700" dirty="0"/>
                <a:t>tbd</a:t>
              </a:r>
            </a:p>
          </p:txBody>
        </p:sp>
      </p:grpSp>
      <p:sp>
        <p:nvSpPr>
          <p:cNvPr id="32" name="Oval 31">
            <a:extLst>
              <a:ext uri="{FF2B5EF4-FFF2-40B4-BE49-F238E27FC236}">
                <a16:creationId xmlns:a16="http://schemas.microsoft.com/office/drawing/2014/main" id="{A4206171-25C8-4A75-D2E3-5EF95BC66A9A}"/>
              </a:ext>
            </a:extLst>
          </p:cNvPr>
          <p:cNvSpPr/>
          <p:nvPr/>
        </p:nvSpPr>
        <p:spPr>
          <a:xfrm>
            <a:off x="2495674" y="978459"/>
            <a:ext cx="3874715" cy="3587725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35992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endParaRPr lang="en-US" sz="120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C4A8457-DA06-E4F9-B9A2-F7E361B1A112}"/>
              </a:ext>
            </a:extLst>
          </p:cNvPr>
          <p:cNvSpPr/>
          <p:nvPr/>
        </p:nvSpPr>
        <p:spPr>
          <a:xfrm>
            <a:off x="3492091" y="957403"/>
            <a:ext cx="1887664" cy="362983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35992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endParaRPr lang="en-US" sz="120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5103FFF4-6EC7-CECF-BA9D-73223D75DFDF}"/>
              </a:ext>
            </a:extLst>
          </p:cNvPr>
          <p:cNvSpPr/>
          <p:nvPr/>
        </p:nvSpPr>
        <p:spPr>
          <a:xfrm>
            <a:off x="3722672" y="2179014"/>
            <a:ext cx="1420719" cy="142071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35992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endParaRPr lang="en-US" sz="120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6" name="Graphic 35" descr="Aspiration with solid fill">
            <a:extLst>
              <a:ext uri="{FF2B5EF4-FFF2-40B4-BE49-F238E27FC236}">
                <a16:creationId xmlns:a16="http://schemas.microsoft.com/office/drawing/2014/main" id="{234445D8-12DB-8CE9-7143-5B1B682229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40837" y="2548801"/>
            <a:ext cx="581658" cy="581658"/>
          </a:xfrm>
          <a:prstGeom prst="rect">
            <a:avLst/>
          </a:prstGeom>
        </p:spPr>
      </p:pic>
      <p:sp>
        <p:nvSpPr>
          <p:cNvPr id="39" name="Oval 38">
            <a:extLst>
              <a:ext uri="{FF2B5EF4-FFF2-40B4-BE49-F238E27FC236}">
                <a16:creationId xmlns:a16="http://schemas.microsoft.com/office/drawing/2014/main" id="{121BAC4B-67D1-D429-071A-1D62508197A1}"/>
              </a:ext>
            </a:extLst>
          </p:cNvPr>
          <p:cNvSpPr/>
          <p:nvPr/>
        </p:nvSpPr>
        <p:spPr>
          <a:xfrm>
            <a:off x="2105263" y="2499994"/>
            <a:ext cx="544656" cy="544656"/>
          </a:xfrm>
          <a:prstGeom prst="ellipse">
            <a:avLst/>
          </a:prstGeom>
          <a:solidFill>
            <a:schemeClr val="accent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35992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0" name="Graphic 39" descr="Monthly calendar with solid fill">
            <a:extLst>
              <a:ext uri="{FF2B5EF4-FFF2-40B4-BE49-F238E27FC236}">
                <a16:creationId xmlns:a16="http://schemas.microsoft.com/office/drawing/2014/main" id="{001CF7CA-261A-0F1C-6D92-6BC1EA7B047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83444" y="2578175"/>
            <a:ext cx="388294" cy="388294"/>
          </a:xfrm>
          <a:prstGeom prst="rect">
            <a:avLst/>
          </a:prstGeom>
        </p:spPr>
      </p:pic>
      <p:sp>
        <p:nvSpPr>
          <p:cNvPr id="42" name="Oval 41">
            <a:extLst>
              <a:ext uri="{FF2B5EF4-FFF2-40B4-BE49-F238E27FC236}">
                <a16:creationId xmlns:a16="http://schemas.microsoft.com/office/drawing/2014/main" id="{50438F11-DE62-9916-C606-80BB080871AC}"/>
              </a:ext>
            </a:extLst>
          </p:cNvPr>
          <p:cNvSpPr/>
          <p:nvPr/>
        </p:nvSpPr>
        <p:spPr>
          <a:xfrm>
            <a:off x="5611388" y="3884903"/>
            <a:ext cx="544656" cy="544656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35992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endParaRPr lang="en-US" sz="120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3" name="Graphic 42" descr="List with solid fill">
            <a:extLst>
              <a:ext uri="{FF2B5EF4-FFF2-40B4-BE49-F238E27FC236}">
                <a16:creationId xmlns:a16="http://schemas.microsoft.com/office/drawing/2014/main" id="{157ECB3F-062E-4CE5-8213-C9408B0445A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78568" y="3952083"/>
            <a:ext cx="410295" cy="410295"/>
          </a:xfrm>
          <a:prstGeom prst="rect">
            <a:avLst/>
          </a:prstGeom>
        </p:spPr>
      </p:pic>
      <p:sp>
        <p:nvSpPr>
          <p:cNvPr id="45" name="Oval 44">
            <a:extLst>
              <a:ext uri="{FF2B5EF4-FFF2-40B4-BE49-F238E27FC236}">
                <a16:creationId xmlns:a16="http://schemas.microsoft.com/office/drawing/2014/main" id="{8A5869C7-FA1B-DE48-7479-078E775ADC26}"/>
              </a:ext>
            </a:extLst>
          </p:cNvPr>
          <p:cNvSpPr/>
          <p:nvPr/>
        </p:nvSpPr>
        <p:spPr>
          <a:xfrm>
            <a:off x="6219537" y="2499994"/>
            <a:ext cx="544656" cy="544656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35992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endParaRPr lang="en-US" sz="120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6" name="Graphic 45" descr="Gauge with solid fill">
            <a:extLst>
              <a:ext uri="{FF2B5EF4-FFF2-40B4-BE49-F238E27FC236}">
                <a16:creationId xmlns:a16="http://schemas.microsoft.com/office/drawing/2014/main" id="{58E974DA-558F-C7BC-F89C-3ED1DD9051C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277764" y="2530902"/>
            <a:ext cx="428201" cy="428201"/>
          </a:xfrm>
          <a:prstGeom prst="rect">
            <a:avLst/>
          </a:prstGeom>
        </p:spPr>
      </p:pic>
      <p:sp>
        <p:nvSpPr>
          <p:cNvPr id="48" name="Oval 47">
            <a:extLst>
              <a:ext uri="{FF2B5EF4-FFF2-40B4-BE49-F238E27FC236}">
                <a16:creationId xmlns:a16="http://schemas.microsoft.com/office/drawing/2014/main" id="{8690E236-4EB7-AB1D-CB38-A01F64A5C5D8}"/>
              </a:ext>
            </a:extLst>
          </p:cNvPr>
          <p:cNvSpPr/>
          <p:nvPr/>
        </p:nvSpPr>
        <p:spPr>
          <a:xfrm>
            <a:off x="5611388" y="1103555"/>
            <a:ext cx="544656" cy="544656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35992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endParaRPr lang="en-US" sz="120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9" name="Graphic 48" descr="Judge female with solid fill">
            <a:extLst>
              <a:ext uri="{FF2B5EF4-FFF2-40B4-BE49-F238E27FC236}">
                <a16:creationId xmlns:a16="http://schemas.microsoft.com/office/drawing/2014/main" id="{EC885753-20B2-F743-B1A2-4FE1958B59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696230" y="1188397"/>
            <a:ext cx="374972" cy="374972"/>
          </a:xfrm>
          <a:prstGeom prst="rect">
            <a:avLst/>
          </a:prstGeom>
        </p:spPr>
      </p:pic>
      <p:sp>
        <p:nvSpPr>
          <p:cNvPr id="51" name="Oval 50">
            <a:extLst>
              <a:ext uri="{FF2B5EF4-FFF2-40B4-BE49-F238E27FC236}">
                <a16:creationId xmlns:a16="http://schemas.microsoft.com/office/drawing/2014/main" id="{DCBD4529-CB75-09F6-545A-60D765C841DB}"/>
              </a:ext>
            </a:extLst>
          </p:cNvPr>
          <p:cNvSpPr/>
          <p:nvPr/>
        </p:nvSpPr>
        <p:spPr>
          <a:xfrm>
            <a:off x="2739253" y="3884903"/>
            <a:ext cx="544656" cy="544656"/>
          </a:xfrm>
          <a:prstGeom prst="ellipse">
            <a:avLst/>
          </a:prstGeom>
          <a:solidFill>
            <a:schemeClr val="accent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35992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endParaRPr lang="en-US" sz="120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2" name="Graphic 51" descr="Bank with solid fill">
            <a:extLst>
              <a:ext uri="{FF2B5EF4-FFF2-40B4-BE49-F238E27FC236}">
                <a16:creationId xmlns:a16="http://schemas.microsoft.com/office/drawing/2014/main" id="{DEAB37DA-2A92-3510-86D5-D5A47E362F3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804848" y="3950498"/>
            <a:ext cx="413467" cy="413467"/>
          </a:xfrm>
          <a:prstGeom prst="rect">
            <a:avLst/>
          </a:prstGeom>
        </p:spPr>
      </p:pic>
      <p:grpSp>
        <p:nvGrpSpPr>
          <p:cNvPr id="53" name="Group 52">
            <a:extLst>
              <a:ext uri="{FF2B5EF4-FFF2-40B4-BE49-F238E27FC236}">
                <a16:creationId xmlns:a16="http://schemas.microsoft.com/office/drawing/2014/main" id="{962B0AE4-8F00-F54E-C8FE-067453258414}"/>
              </a:ext>
            </a:extLst>
          </p:cNvPr>
          <p:cNvGrpSpPr/>
          <p:nvPr/>
        </p:nvGrpSpPr>
        <p:grpSpPr>
          <a:xfrm>
            <a:off x="2739253" y="1103555"/>
            <a:ext cx="544656" cy="544656"/>
            <a:chOff x="3441755" y="1620908"/>
            <a:chExt cx="702032" cy="702032"/>
          </a:xfrm>
          <a:solidFill>
            <a:schemeClr val="accent5"/>
          </a:solidFill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E8A21590-581F-69CE-A342-7A55B315EF92}"/>
                </a:ext>
              </a:extLst>
            </p:cNvPr>
            <p:cNvSpPr/>
            <p:nvPr/>
          </p:nvSpPr>
          <p:spPr>
            <a:xfrm>
              <a:off x="3441755" y="1620908"/>
              <a:ext cx="702032" cy="702032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9" tIns="45709" rIns="35992" bIns="4570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endParaRPr lang="en-US" sz="120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5" name="Graphic 54" descr="Ui Ux with solid fill">
              <a:extLst>
                <a:ext uri="{FF2B5EF4-FFF2-40B4-BE49-F238E27FC236}">
                  <a16:creationId xmlns:a16="http://schemas.microsoft.com/office/drawing/2014/main" id="{95DDE4B4-1F47-378B-DC43-63F086BC22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515896" y="1695049"/>
              <a:ext cx="553750" cy="553750"/>
            </a:xfrm>
            <a:prstGeom prst="rect">
              <a:avLst/>
            </a:prstGeom>
          </p:spPr>
        </p:pic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C766A8E7-4864-2D2F-8588-AEE4765D85A3}"/>
              </a:ext>
            </a:extLst>
          </p:cNvPr>
          <p:cNvSpPr txBox="1"/>
          <p:nvPr/>
        </p:nvSpPr>
        <p:spPr>
          <a:xfrm>
            <a:off x="3149913" y="1427994"/>
            <a:ext cx="2566237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50" dirty="0">
                <a:latin typeface="Arial" pitchFamily="34" charset="0"/>
                <a:cs typeface="Arial" pitchFamily="34" charset="0"/>
              </a:rPr>
              <a:t>The current state of the art when it comes to hate speech classification is: …</a:t>
            </a:r>
            <a:endParaRPr lang="en-US" sz="1050" b="1" dirty="0"/>
          </a:p>
        </p:txBody>
      </p:sp>
      <p:pic>
        <p:nvPicPr>
          <p:cNvPr id="59" name="Graphic 58" descr="Scientific Thought with solid fill">
            <a:extLst>
              <a:ext uri="{FF2B5EF4-FFF2-40B4-BE49-F238E27FC236}">
                <a16:creationId xmlns:a16="http://schemas.microsoft.com/office/drawing/2014/main" id="{F1851111-CF60-F14F-BEA0-00FC2D83570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741413" y="2526892"/>
            <a:ext cx="307201" cy="307201"/>
          </a:xfrm>
          <a:prstGeom prst="rect">
            <a:avLst/>
          </a:prstGeom>
        </p:spPr>
      </p:pic>
      <p:pic>
        <p:nvPicPr>
          <p:cNvPr id="61" name="Graphic 60" descr="Remote learning science with solid fill">
            <a:extLst>
              <a:ext uri="{FF2B5EF4-FFF2-40B4-BE49-F238E27FC236}">
                <a16:creationId xmlns:a16="http://schemas.microsoft.com/office/drawing/2014/main" id="{311F48DF-9DAE-05BB-C5DE-AB49D61CD5AE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845570" y="2559618"/>
            <a:ext cx="307200" cy="307200"/>
          </a:xfrm>
          <a:prstGeom prst="rect">
            <a:avLst/>
          </a:prstGeom>
        </p:spPr>
      </p:pic>
      <p:pic>
        <p:nvPicPr>
          <p:cNvPr id="63" name="Graphic 62" descr="Books with solid fill">
            <a:extLst>
              <a:ext uri="{FF2B5EF4-FFF2-40B4-BE49-F238E27FC236}">
                <a16:creationId xmlns:a16="http://schemas.microsoft.com/office/drawing/2014/main" id="{C1AAD5D6-BFC9-593A-E421-E99C66A440D2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281862" y="3162922"/>
            <a:ext cx="299608" cy="299608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D5EF54F0-0B8E-352F-A7EF-B7F014D755D4}"/>
              </a:ext>
            </a:extLst>
          </p:cNvPr>
          <p:cNvSpPr txBox="1"/>
          <p:nvPr/>
        </p:nvSpPr>
        <p:spPr>
          <a:xfrm>
            <a:off x="158171" y="820075"/>
            <a:ext cx="223341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Current state of the Art:</a:t>
            </a:r>
            <a:endParaRPr lang="en-US" sz="1050" b="1" dirty="0">
              <a:solidFill>
                <a:schemeClr val="accent5"/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1710D23B-2325-C2CB-06F2-3A8A7E1167C3}"/>
              </a:ext>
            </a:extLst>
          </p:cNvPr>
          <p:cNvSpPr txBox="1"/>
          <p:nvPr/>
        </p:nvSpPr>
        <p:spPr>
          <a:xfrm>
            <a:off x="6027296" y="820075"/>
            <a:ext cx="223341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Related Work:</a:t>
            </a:r>
            <a:endParaRPr lang="en-US" sz="1050" b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2136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81CB255-14D3-6DBE-9F38-D09291AA9C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78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1CB255-14D3-6DBE-9F38-D09291AA9C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B83921-BB9D-52C4-83DF-17D78F1866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NLP Project | Project Proposition | March 2024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B4DAB0-75DE-68E8-523E-61DE0F5ACCE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057DB4-583E-41A7-BD94-987342018C17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DDDA5F44-F6C4-BC2E-3C3C-030203F92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77" y="645398"/>
            <a:ext cx="4419310" cy="861575"/>
          </a:xfrm>
        </p:spPr>
        <p:txBody>
          <a:bodyPr vert="horz"/>
          <a:lstStyle/>
          <a:p>
            <a:r>
              <a:rPr lang="en-US" altLang="de-DE" dirty="0"/>
              <a:t>Methodology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5CBC551-9D38-D577-4580-ACF5DB1CD6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0002" y="1248228"/>
            <a:ext cx="4682286" cy="340927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AT" sz="1600" b="1" dirty="0"/>
              <a:t>High-Level</a:t>
            </a:r>
          </a:p>
          <a:p>
            <a:r>
              <a:rPr lang="de-AT" sz="1600" dirty="0"/>
              <a:t>Project Approach</a:t>
            </a:r>
          </a:p>
          <a:p>
            <a:r>
              <a:rPr lang="de-AT" sz="1600" dirty="0"/>
              <a:t>Knowledge Gap</a:t>
            </a:r>
          </a:p>
          <a:p>
            <a:r>
              <a:rPr lang="de-AT" sz="1600" dirty="0"/>
              <a:t>Research Question</a:t>
            </a:r>
          </a:p>
          <a:p>
            <a:r>
              <a:rPr lang="de-AT" sz="1600" dirty="0"/>
              <a:t>Outline our Experiments</a:t>
            </a:r>
          </a:p>
          <a:p>
            <a:pPr marL="0" indent="0">
              <a:buNone/>
            </a:pPr>
            <a:r>
              <a:rPr lang="de-AT" sz="1600" b="1" dirty="0"/>
              <a:t>Detail</a:t>
            </a:r>
          </a:p>
          <a:p>
            <a:r>
              <a:rPr lang="de-AT" sz="1600" dirty="0"/>
              <a:t>Data</a:t>
            </a:r>
          </a:p>
          <a:p>
            <a:r>
              <a:rPr lang="de-AT" sz="1600" dirty="0" err="1"/>
              <a:t>Preprocessing</a:t>
            </a:r>
            <a:endParaRPr lang="de-AT" sz="1600" dirty="0"/>
          </a:p>
          <a:p>
            <a:r>
              <a:rPr lang="de-AT" sz="1600" dirty="0"/>
              <a:t>Experiments</a:t>
            </a:r>
          </a:p>
          <a:p>
            <a:r>
              <a:rPr lang="de-AT" sz="1600" dirty="0" err="1"/>
              <a:t>Results</a:t>
            </a:r>
            <a:endParaRPr lang="de-AT" sz="1600" dirty="0"/>
          </a:p>
          <a:p>
            <a:pPr marL="0" indent="0">
              <a:buNone/>
            </a:pPr>
            <a:endParaRPr lang="de-AT" sz="1600" dirty="0"/>
          </a:p>
        </p:txBody>
      </p:sp>
      <p:pic>
        <p:nvPicPr>
          <p:cNvPr id="12" name="Picture 11" descr="A person standing in front of a server room&#10;&#10;Description automatically generated">
            <a:extLst>
              <a:ext uri="{FF2B5EF4-FFF2-40B4-BE49-F238E27FC236}">
                <a16:creationId xmlns:a16="http://schemas.microsoft.com/office/drawing/2014/main" id="{F1CB4F80-7CDD-F707-731A-95E198BFBF8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95"/>
          <a:stretch/>
        </p:blipFill>
        <p:spPr>
          <a:xfrm>
            <a:off x="4305300" y="0"/>
            <a:ext cx="4838700" cy="5143500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7C303EE7-73DD-7AFD-2D9A-9B1C659F9CDD}"/>
              </a:ext>
            </a:extLst>
          </p:cNvPr>
          <p:cNvSpPr/>
          <p:nvPr/>
        </p:nvSpPr>
        <p:spPr>
          <a:xfrm>
            <a:off x="3305135" y="486001"/>
            <a:ext cx="868678" cy="868678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14" name="Graphic 13" descr="Workflow with solid fill">
            <a:extLst>
              <a:ext uri="{FF2B5EF4-FFF2-40B4-BE49-F238E27FC236}">
                <a16:creationId xmlns:a16="http://schemas.microsoft.com/office/drawing/2014/main" id="{197465D5-31BC-15A2-675D-1C6B650CEE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28110" y="601459"/>
            <a:ext cx="622727" cy="622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0227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B79E7A5-B97E-E60F-FB79-7947CD67BD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402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79E7A5-B97E-E60F-FB79-7947CD67BD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1BAF9D-6E9E-9429-FB70-E10C16E35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AT" dirty="0"/>
              <a:t>Project Approach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BB7582-8615-9F89-E88E-2D817187422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NLP Project | Project Proposition | March 2024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C3FEDE-5A22-002A-C36E-D3BCA5B9C3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057DB4-583E-41A7-BD94-987342018C17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3" name="Rechteck 7">
            <a:extLst>
              <a:ext uri="{FF2B5EF4-FFF2-40B4-BE49-F238E27FC236}">
                <a16:creationId xmlns:a16="http://schemas.microsoft.com/office/drawing/2014/main" id="{2AE33EBC-55C1-2F1A-83BB-35F6F5A98554}"/>
              </a:ext>
            </a:extLst>
          </p:cNvPr>
          <p:cNvSpPr/>
          <p:nvPr/>
        </p:nvSpPr>
        <p:spPr>
          <a:xfrm>
            <a:off x="266828" y="2263079"/>
            <a:ext cx="1605422" cy="2225101"/>
          </a:xfrm>
          <a:prstGeom prst="rect">
            <a:avLst/>
          </a:prstGeom>
          <a:noFill/>
          <a:ln w="12700" cap="flat" cmpd="sng" algn="ctr">
            <a:solidFill>
              <a:schemeClr val="accent3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66CC00"/>
              </a:buClr>
              <a:buSzPct val="80000"/>
              <a:buFont typeface="Arial" panose="020B0604020202020204" pitchFamily="34" charset="0"/>
              <a:buChar char="●"/>
              <a:tabLst/>
              <a:defRPr/>
            </a:pPr>
            <a:r>
              <a:rPr lang="en-US" sz="1000" dirty="0"/>
              <a:t>Clearly define the project's objective, whether it's sentiment analysis, text classification, named entity recognition, etc.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6" name="Rechteck 14">
            <a:extLst>
              <a:ext uri="{FF2B5EF4-FFF2-40B4-BE49-F238E27FC236}">
                <a16:creationId xmlns:a16="http://schemas.microsoft.com/office/drawing/2014/main" id="{2C896449-4492-BB02-3324-78AF23D106BD}"/>
              </a:ext>
            </a:extLst>
          </p:cNvPr>
          <p:cNvSpPr/>
          <p:nvPr/>
        </p:nvSpPr>
        <p:spPr>
          <a:xfrm>
            <a:off x="1972556" y="2263079"/>
            <a:ext cx="1605423" cy="2225101"/>
          </a:xfrm>
          <a:prstGeom prst="rect">
            <a:avLst/>
          </a:prstGeom>
          <a:noFill/>
          <a:ln w="12700" cap="flat" cmpd="sng" algn="ctr">
            <a:solidFill>
              <a:schemeClr val="accent3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66CC00"/>
              </a:buClr>
              <a:buSzPct val="80000"/>
              <a:buFont typeface="Arial" panose="020B0604020202020204" pitchFamily="34" charset="0"/>
              <a:buChar char="●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ather relevant datasets for training and testing your NLP model.</a:t>
            </a:r>
          </a:p>
          <a:p>
            <a:pPr marL="171450" marR="0" lvl="0" indent="-17145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66CC00"/>
              </a:buClr>
              <a:buSzPct val="80000"/>
              <a:buFont typeface="Arial" panose="020B0604020202020204" pitchFamily="34" charset="0"/>
              <a:buChar char="●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Ensure the data is labeled appropriately for supervised learning tasks</a:t>
            </a:r>
          </a:p>
        </p:txBody>
      </p:sp>
      <p:sp>
        <p:nvSpPr>
          <p:cNvPr id="8" name="Rechteck 16">
            <a:extLst>
              <a:ext uri="{FF2B5EF4-FFF2-40B4-BE49-F238E27FC236}">
                <a16:creationId xmlns:a16="http://schemas.microsoft.com/office/drawing/2014/main" id="{101708DA-EE5F-541E-A6E9-52251BF239BD}"/>
              </a:ext>
            </a:extLst>
          </p:cNvPr>
          <p:cNvSpPr/>
          <p:nvPr/>
        </p:nvSpPr>
        <p:spPr>
          <a:xfrm>
            <a:off x="3678284" y="2263079"/>
            <a:ext cx="1605423" cy="2225101"/>
          </a:xfrm>
          <a:prstGeom prst="rect">
            <a:avLst/>
          </a:prstGeom>
          <a:noFill/>
          <a:ln w="12700" cap="flat" cmpd="sng" algn="ctr">
            <a:solidFill>
              <a:schemeClr val="accent3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66CC00"/>
              </a:buClr>
              <a:buSzPct val="80000"/>
              <a:buFont typeface="Arial" panose="020B0604020202020204" pitchFamily="34" charset="0"/>
              <a:buChar char="●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Clean and preprocess the text data by removing noise, such as HTML tags, punctuation, and stop-words.</a:t>
            </a:r>
          </a:p>
          <a:p>
            <a:pPr marL="171450" marR="0" lvl="0" indent="-17145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66CC00"/>
              </a:buClr>
              <a:buSzPct val="80000"/>
              <a:buFont typeface="Arial" panose="020B0604020202020204" pitchFamily="34" charset="0"/>
              <a:buChar char="●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Tokenize the text and perform tasks like stemming or lemmatization</a:t>
            </a:r>
          </a:p>
        </p:txBody>
      </p:sp>
      <p:sp>
        <p:nvSpPr>
          <p:cNvPr id="9" name="Rechteck 23">
            <a:extLst>
              <a:ext uri="{FF2B5EF4-FFF2-40B4-BE49-F238E27FC236}">
                <a16:creationId xmlns:a16="http://schemas.microsoft.com/office/drawing/2014/main" id="{5842826C-C694-261C-03F1-6B6E786BBBEA}"/>
              </a:ext>
            </a:extLst>
          </p:cNvPr>
          <p:cNvSpPr/>
          <p:nvPr/>
        </p:nvSpPr>
        <p:spPr>
          <a:xfrm>
            <a:off x="5384013" y="2263079"/>
            <a:ext cx="1605422" cy="2225101"/>
          </a:xfrm>
          <a:prstGeom prst="rect">
            <a:avLst/>
          </a:prstGeom>
          <a:noFill/>
          <a:ln w="12700" cap="flat" cmpd="sng" algn="ctr">
            <a:solidFill>
              <a:schemeClr val="accent3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66CC00"/>
              </a:buClr>
              <a:buSzPct val="80000"/>
              <a:buFont typeface="Arial" panose="020B0604020202020204" pitchFamily="34" charset="0"/>
              <a:buChar char="●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Extract relevant features from the text data, such as bag-of-words, TF-IDF vectors, word embeddings (e.g., Word2Vec,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loV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), or contextual embeddings (e.g., BERT)</a:t>
            </a:r>
          </a:p>
          <a:p>
            <a:pPr marL="171450" marR="0" lvl="0" indent="-17145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66CC00"/>
              </a:buClr>
              <a:buSzPct val="80000"/>
              <a:buFont typeface="Arial" panose="020B0604020202020204" pitchFamily="34" charset="0"/>
              <a:buChar char="●"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0" name="Chevron 48">
            <a:extLst>
              <a:ext uri="{FF2B5EF4-FFF2-40B4-BE49-F238E27FC236}">
                <a16:creationId xmlns:a16="http://schemas.microsoft.com/office/drawing/2014/main" id="{2CBF4A68-CCB2-86DB-6B39-04D7DF3A5BF2}"/>
              </a:ext>
            </a:extLst>
          </p:cNvPr>
          <p:cNvSpPr/>
          <p:nvPr/>
        </p:nvSpPr>
        <p:spPr>
          <a:xfrm>
            <a:off x="254949" y="1674523"/>
            <a:ext cx="1937579" cy="596735"/>
          </a:xfrm>
          <a:prstGeom prst="chevron">
            <a:avLst/>
          </a:prstGeom>
          <a:solidFill>
            <a:schemeClr val="accent5"/>
          </a:solidFill>
          <a:ln w="9525" cap="flat" cmpd="sng" algn="ctr">
            <a:solidFill>
              <a:srgbClr val="99ADC2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Define Objective</a:t>
            </a:r>
          </a:p>
        </p:txBody>
      </p:sp>
      <p:sp>
        <p:nvSpPr>
          <p:cNvPr id="11" name="Chevron 49">
            <a:extLst>
              <a:ext uri="{FF2B5EF4-FFF2-40B4-BE49-F238E27FC236}">
                <a16:creationId xmlns:a16="http://schemas.microsoft.com/office/drawing/2014/main" id="{A6589839-3794-9E70-D3A1-7816CE6A74EA}"/>
              </a:ext>
            </a:extLst>
          </p:cNvPr>
          <p:cNvSpPr/>
          <p:nvPr/>
        </p:nvSpPr>
        <p:spPr>
          <a:xfrm>
            <a:off x="1964637" y="1675473"/>
            <a:ext cx="1937579" cy="596627"/>
          </a:xfrm>
          <a:prstGeom prst="chevron">
            <a:avLst>
              <a:gd name="adj" fmla="val 47297"/>
            </a:avLst>
          </a:prstGeom>
          <a:solidFill>
            <a:schemeClr val="accent5"/>
          </a:solidFill>
          <a:ln w="9525" cap="flat" cmpd="sng" algn="ctr">
            <a:solidFill>
              <a:srgbClr val="99ADC2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Data Collection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2" name="Chevron 50">
            <a:extLst>
              <a:ext uri="{FF2B5EF4-FFF2-40B4-BE49-F238E27FC236}">
                <a16:creationId xmlns:a16="http://schemas.microsoft.com/office/drawing/2014/main" id="{9540D60A-5455-E18F-2E7D-261B889C2105}"/>
              </a:ext>
            </a:extLst>
          </p:cNvPr>
          <p:cNvSpPr/>
          <p:nvPr/>
        </p:nvSpPr>
        <p:spPr>
          <a:xfrm>
            <a:off x="3674324" y="1674065"/>
            <a:ext cx="1937579" cy="596627"/>
          </a:xfrm>
          <a:prstGeom prst="chevron">
            <a:avLst/>
          </a:prstGeom>
          <a:solidFill>
            <a:schemeClr val="accent5"/>
          </a:solidFill>
          <a:ln w="9525" cap="flat" cmpd="sng" algn="ctr">
            <a:solidFill>
              <a:srgbClr val="99ADC2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EDA &amp;</a:t>
            </a:r>
            <a:r>
              <a:rPr lang="en-US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Data Preprocessing</a:t>
            </a:r>
          </a:p>
        </p:txBody>
      </p:sp>
      <p:sp>
        <p:nvSpPr>
          <p:cNvPr id="13" name="Chevron 51">
            <a:extLst>
              <a:ext uri="{FF2B5EF4-FFF2-40B4-BE49-F238E27FC236}">
                <a16:creationId xmlns:a16="http://schemas.microsoft.com/office/drawing/2014/main" id="{39EE3A5F-2CA0-1BB1-9D37-99337987BEC3}"/>
              </a:ext>
            </a:extLst>
          </p:cNvPr>
          <p:cNvSpPr/>
          <p:nvPr/>
        </p:nvSpPr>
        <p:spPr>
          <a:xfrm>
            <a:off x="5384012" y="1674906"/>
            <a:ext cx="1937579" cy="596682"/>
          </a:xfrm>
          <a:prstGeom prst="chevron">
            <a:avLst/>
          </a:prstGeom>
          <a:solidFill>
            <a:schemeClr val="accent5"/>
          </a:solidFill>
          <a:ln w="9525" cap="flat" cmpd="sng" algn="ctr">
            <a:solidFill>
              <a:srgbClr val="99ADC2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Feature Engineering</a:t>
            </a:r>
          </a:p>
        </p:txBody>
      </p:sp>
      <p:sp>
        <p:nvSpPr>
          <p:cNvPr id="14" name="Chevron 51">
            <a:extLst>
              <a:ext uri="{FF2B5EF4-FFF2-40B4-BE49-F238E27FC236}">
                <a16:creationId xmlns:a16="http://schemas.microsoft.com/office/drawing/2014/main" id="{AF0A74EC-E406-0BAC-8569-9FEC2FE99511}"/>
              </a:ext>
            </a:extLst>
          </p:cNvPr>
          <p:cNvSpPr/>
          <p:nvPr/>
        </p:nvSpPr>
        <p:spPr>
          <a:xfrm>
            <a:off x="7089741" y="1674906"/>
            <a:ext cx="1937579" cy="596682"/>
          </a:xfrm>
          <a:prstGeom prst="chevron">
            <a:avLst/>
          </a:prstGeom>
          <a:solidFill>
            <a:schemeClr val="accent5"/>
          </a:solidFill>
          <a:ln w="9525" cap="flat" cmpd="sng" algn="ctr">
            <a:solidFill>
              <a:srgbClr val="99ADC2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Model Selection</a:t>
            </a:r>
          </a:p>
        </p:txBody>
      </p:sp>
      <p:sp>
        <p:nvSpPr>
          <p:cNvPr id="15" name="Rechteck 23">
            <a:extLst>
              <a:ext uri="{FF2B5EF4-FFF2-40B4-BE49-F238E27FC236}">
                <a16:creationId xmlns:a16="http://schemas.microsoft.com/office/drawing/2014/main" id="{8602C2BB-EE5A-D1E1-82E8-D9E1E342227F}"/>
              </a:ext>
            </a:extLst>
          </p:cNvPr>
          <p:cNvSpPr/>
          <p:nvPr/>
        </p:nvSpPr>
        <p:spPr>
          <a:xfrm>
            <a:off x="7089741" y="2263079"/>
            <a:ext cx="1605422" cy="2225101"/>
          </a:xfrm>
          <a:prstGeom prst="rect">
            <a:avLst/>
          </a:prstGeom>
          <a:noFill/>
          <a:ln w="12700" cap="flat" cmpd="sng" algn="ctr">
            <a:solidFill>
              <a:schemeClr val="accent3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66CC00"/>
              </a:buClr>
              <a:buSzPct val="80000"/>
              <a:buFont typeface="Arial" panose="020B0604020202020204" pitchFamily="34" charset="0"/>
              <a:buChar char="●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Choose an appropriate model architecture based on the project's objective and available resources (Logistic Regression and BERT)</a:t>
            </a:r>
          </a:p>
          <a:p>
            <a:pPr marL="171450" marR="0" lvl="0" indent="-17145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66CC00"/>
              </a:buClr>
              <a:buSzPct val="80000"/>
              <a:buFont typeface="Arial" panose="020B0604020202020204" pitchFamily="34" charset="0"/>
              <a:buChar char="●"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pic>
        <p:nvPicPr>
          <p:cNvPr id="16" name="Graphic 15" descr="Illustrator with solid fill">
            <a:extLst>
              <a:ext uri="{FF2B5EF4-FFF2-40B4-BE49-F238E27FC236}">
                <a16:creationId xmlns:a16="http://schemas.microsoft.com/office/drawing/2014/main" id="{35DFF0D0-C770-2DEA-164E-572E141C7C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86021" y="1091278"/>
            <a:ext cx="534921" cy="534921"/>
          </a:xfrm>
          <a:prstGeom prst="rect">
            <a:avLst/>
          </a:prstGeom>
        </p:spPr>
      </p:pic>
      <p:pic>
        <p:nvPicPr>
          <p:cNvPr id="17" name="Graphic 16" descr="Statistics with solid fill">
            <a:extLst>
              <a:ext uri="{FF2B5EF4-FFF2-40B4-BE49-F238E27FC236}">
                <a16:creationId xmlns:a16="http://schemas.microsoft.com/office/drawing/2014/main" id="{435BF246-3333-4E36-98EB-CB9C92A686D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85339" y="1091278"/>
            <a:ext cx="534921" cy="534921"/>
          </a:xfrm>
          <a:prstGeom prst="rect">
            <a:avLst/>
          </a:prstGeom>
        </p:spPr>
      </p:pic>
      <p:pic>
        <p:nvPicPr>
          <p:cNvPr id="18" name="Graphic 17" descr="Folder Search with solid fill">
            <a:extLst>
              <a:ext uri="{FF2B5EF4-FFF2-40B4-BE49-F238E27FC236}">
                <a16:creationId xmlns:a16="http://schemas.microsoft.com/office/drawing/2014/main" id="{65FEA997-1F8A-8361-B255-57E1EFC642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65965" y="1081720"/>
            <a:ext cx="534921" cy="534921"/>
          </a:xfrm>
          <a:prstGeom prst="rect">
            <a:avLst/>
          </a:prstGeom>
        </p:spPr>
      </p:pic>
      <p:pic>
        <p:nvPicPr>
          <p:cNvPr id="19" name="Graphic 18" descr="Scientist female with solid fill">
            <a:extLst>
              <a:ext uri="{FF2B5EF4-FFF2-40B4-BE49-F238E27FC236}">
                <a16:creationId xmlns:a16="http://schemas.microsoft.com/office/drawing/2014/main" id="{12DE4CF4-C5EA-4F74-5CAC-01887F3624A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75652" y="1081719"/>
            <a:ext cx="534921" cy="534921"/>
          </a:xfrm>
          <a:prstGeom prst="rect">
            <a:avLst/>
          </a:prstGeom>
        </p:spPr>
      </p:pic>
      <p:pic>
        <p:nvPicPr>
          <p:cNvPr id="20" name="Graphic 19" descr="Good Idea with solid fill">
            <a:extLst>
              <a:ext uri="{FF2B5EF4-FFF2-40B4-BE49-F238E27FC236}">
                <a16:creationId xmlns:a16="http://schemas.microsoft.com/office/drawing/2014/main" id="{48B5AAA0-5A7A-7BDD-FAEE-19194AAE70E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56277" y="1091279"/>
            <a:ext cx="534921" cy="534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1730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916ACFF-483D-AF6B-E316-9AB9DA85A3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4568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16ACFF-483D-AF6B-E316-9AB9DA85A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B01E10-7E38-3DBA-35D1-590B2543B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AT" dirty="0"/>
              <a:t>Knowledge Gap, Research Question, Experimenten Outli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E02A39-6B81-8FC5-2979-3E2C8623B31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NLP Project | Project Proposition | March 2024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B8B4A0-44C9-0F42-1573-7697012B32E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057DB4-583E-41A7-BD94-987342018C17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3C06DA0-273E-04ED-C9E2-F958F85FA1AE}"/>
              </a:ext>
            </a:extLst>
          </p:cNvPr>
          <p:cNvSpPr/>
          <p:nvPr/>
        </p:nvSpPr>
        <p:spPr>
          <a:xfrm>
            <a:off x="299728" y="1178902"/>
            <a:ext cx="2568090" cy="3516558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FB60948-44B8-DB7A-E579-86E923B340A0}"/>
              </a:ext>
            </a:extLst>
          </p:cNvPr>
          <p:cNvSpPr/>
          <p:nvPr/>
        </p:nvSpPr>
        <p:spPr>
          <a:xfrm>
            <a:off x="3166867" y="1178901"/>
            <a:ext cx="2568090" cy="3512285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E989230-8E96-894B-3564-F13853D983C7}"/>
              </a:ext>
            </a:extLst>
          </p:cNvPr>
          <p:cNvSpPr/>
          <p:nvPr/>
        </p:nvSpPr>
        <p:spPr>
          <a:xfrm>
            <a:off x="6034006" y="1178901"/>
            <a:ext cx="2568090" cy="3512285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8026492-12A4-6341-761D-9B347A809AFE}"/>
              </a:ext>
            </a:extLst>
          </p:cNvPr>
          <p:cNvSpPr/>
          <p:nvPr/>
        </p:nvSpPr>
        <p:spPr>
          <a:xfrm>
            <a:off x="3244496" y="1007451"/>
            <a:ext cx="1745187" cy="40957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Research Ques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3FD1E6-0467-0227-6234-A4F73CEBEC74}"/>
              </a:ext>
            </a:extLst>
          </p:cNvPr>
          <p:cNvSpPr/>
          <p:nvPr/>
        </p:nvSpPr>
        <p:spPr>
          <a:xfrm>
            <a:off x="6105725" y="1007451"/>
            <a:ext cx="1790029" cy="40957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Experiment Outlin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94B687B-D5FB-5299-8734-247522A1DAF7}"/>
              </a:ext>
            </a:extLst>
          </p:cNvPr>
          <p:cNvSpPr/>
          <p:nvPr/>
        </p:nvSpPr>
        <p:spPr>
          <a:xfrm>
            <a:off x="374043" y="1007451"/>
            <a:ext cx="1745187" cy="40957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Knowledge Gap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582FC0C-C220-666C-6B18-11C941CE611E}"/>
              </a:ext>
            </a:extLst>
          </p:cNvPr>
          <p:cNvSpPr/>
          <p:nvPr/>
        </p:nvSpPr>
        <p:spPr>
          <a:xfrm>
            <a:off x="2121712" y="916963"/>
            <a:ext cx="523875" cy="523875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35BFC66-7062-555A-8446-2A7DB9EBBFBA}"/>
              </a:ext>
            </a:extLst>
          </p:cNvPr>
          <p:cNvSpPr/>
          <p:nvPr/>
        </p:nvSpPr>
        <p:spPr>
          <a:xfrm>
            <a:off x="4987553" y="916963"/>
            <a:ext cx="523875" cy="523875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FE386F8-BD92-87DE-92FF-BACF73399399}"/>
              </a:ext>
            </a:extLst>
          </p:cNvPr>
          <p:cNvSpPr/>
          <p:nvPr/>
        </p:nvSpPr>
        <p:spPr>
          <a:xfrm>
            <a:off x="7853394" y="916963"/>
            <a:ext cx="523875" cy="523875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7E0F107-B94F-1F9A-CE74-8297E3BE2435}"/>
              </a:ext>
            </a:extLst>
          </p:cNvPr>
          <p:cNvSpPr txBox="1"/>
          <p:nvPr/>
        </p:nvSpPr>
        <p:spPr>
          <a:xfrm>
            <a:off x="374042" y="1507513"/>
            <a:ext cx="2427099" cy="50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3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52000" indent="-252000" algn="l" defTabSz="91281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</a:pPr>
            <a:r>
              <a:rPr lang="en-US" sz="1200" dirty="0"/>
              <a:t>tbd</a:t>
            </a:r>
          </a:p>
          <a:p>
            <a:pPr marL="252000" indent="-252000" algn="l" defTabSz="91281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</a:pPr>
            <a:endParaRPr lang="en-US" sz="12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80EA71C-06E3-78AB-9740-B0D7A2411506}"/>
              </a:ext>
            </a:extLst>
          </p:cNvPr>
          <p:cNvSpPr txBox="1"/>
          <p:nvPr/>
        </p:nvSpPr>
        <p:spPr>
          <a:xfrm>
            <a:off x="6104501" y="1486521"/>
            <a:ext cx="2427099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3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912813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</a:pPr>
            <a:r>
              <a:rPr lang="en-US" sz="1200" b="1" dirty="0"/>
              <a:t>tbd</a:t>
            </a:r>
          </a:p>
          <a:p>
            <a:pPr marL="252000" indent="-252000" defTabSz="912813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</a:pPr>
            <a:r>
              <a:rPr lang="en-US" sz="1200" dirty="0"/>
              <a:t>tbd</a:t>
            </a:r>
          </a:p>
        </p:txBody>
      </p:sp>
      <p:pic>
        <p:nvPicPr>
          <p:cNvPr id="26" name="Graphic 25" descr="Books on shelf with solid fill">
            <a:extLst>
              <a:ext uri="{FF2B5EF4-FFF2-40B4-BE49-F238E27FC236}">
                <a16:creationId xmlns:a16="http://schemas.microsoft.com/office/drawing/2014/main" id="{8E00AF02-27CF-6457-5A11-5C34313DF12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137180" y="936480"/>
            <a:ext cx="492938" cy="492938"/>
          </a:xfrm>
          <a:prstGeom prst="rect">
            <a:avLst/>
          </a:prstGeom>
        </p:spPr>
      </p:pic>
      <p:pic>
        <p:nvPicPr>
          <p:cNvPr id="27" name="Graphic 26" descr="Bullseye with solid fill">
            <a:extLst>
              <a:ext uri="{FF2B5EF4-FFF2-40B4-BE49-F238E27FC236}">
                <a16:creationId xmlns:a16="http://schemas.microsoft.com/office/drawing/2014/main" id="{4F884E3D-9862-130D-E506-8F0A84652FD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32922" y="955911"/>
            <a:ext cx="435266" cy="435266"/>
          </a:xfrm>
          <a:prstGeom prst="rect">
            <a:avLst/>
          </a:prstGeom>
        </p:spPr>
      </p:pic>
      <p:pic>
        <p:nvPicPr>
          <p:cNvPr id="29" name="Graphic 28" descr="Scientist male with solid fill">
            <a:extLst>
              <a:ext uri="{FF2B5EF4-FFF2-40B4-BE49-F238E27FC236}">
                <a16:creationId xmlns:a16="http://schemas.microsoft.com/office/drawing/2014/main" id="{03AF4124-FC88-7EB8-8F31-2DF05036D5A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95754" y="936480"/>
            <a:ext cx="439153" cy="439153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3B730A63-4E3D-6E4B-5747-64F07E011ECB}"/>
              </a:ext>
            </a:extLst>
          </p:cNvPr>
          <p:cNvSpPr txBox="1"/>
          <p:nvPr/>
        </p:nvSpPr>
        <p:spPr>
          <a:xfrm>
            <a:off x="3244496" y="2066283"/>
            <a:ext cx="240040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US" sz="1400" i="1" dirty="0"/>
              <a:t>“Which </a:t>
            </a:r>
            <a:r>
              <a:rPr lang="en-US" sz="1400" b="1" i="1" dirty="0"/>
              <a:t>method, logistic regression or BERT</a:t>
            </a:r>
            <a:r>
              <a:rPr lang="en-US" sz="1400" i="1" dirty="0"/>
              <a:t>, exhibits </a:t>
            </a:r>
            <a:r>
              <a:rPr lang="en-US" sz="1400" b="1" i="1" dirty="0"/>
              <a:t>greater robustness </a:t>
            </a:r>
            <a:r>
              <a:rPr lang="en-US" sz="1400" i="1" dirty="0"/>
              <a:t>(based on Accuracy, Recall, Precision, F1-Score) </a:t>
            </a:r>
            <a:r>
              <a:rPr lang="en-US" sz="1400" b="1" i="1" dirty="0"/>
              <a:t>across various types of fake hate speech datasets </a:t>
            </a:r>
            <a:r>
              <a:rPr lang="en-US" sz="1400" i="1" dirty="0"/>
              <a:t>and </a:t>
            </a:r>
            <a:r>
              <a:rPr lang="en-US" sz="1400" b="1" i="1" dirty="0"/>
              <a:t>pre-processing</a:t>
            </a:r>
            <a:r>
              <a:rPr lang="en-US" sz="1400" i="1" dirty="0"/>
              <a:t> </a:t>
            </a:r>
            <a:r>
              <a:rPr lang="en-US" sz="1400" b="1" i="1" dirty="0"/>
              <a:t>methods</a:t>
            </a:r>
            <a:r>
              <a:rPr lang="en-US" sz="1400" i="1" dirty="0"/>
              <a:t>?”</a:t>
            </a:r>
            <a:endParaRPr lang="de-DE" sz="1400" i="1" dirty="0"/>
          </a:p>
        </p:txBody>
      </p:sp>
    </p:spTree>
    <p:extLst>
      <p:ext uri="{BB962C8B-B14F-4D97-AF65-F5344CB8AC3E}">
        <p14:creationId xmlns:p14="http://schemas.microsoft.com/office/powerpoint/2010/main" val="6031097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BEF69E4-20A0-0D6A-1DDE-C05D67359E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725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EF69E4-20A0-0D6A-1DDE-C05D67359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A8EC75-D214-A0A7-D312-25E89EF07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AT" dirty="0"/>
              <a:t>In </a:t>
            </a:r>
            <a:r>
              <a:rPr lang="de-AT" dirty="0" err="1"/>
              <a:t>conclusion</a:t>
            </a:r>
            <a:r>
              <a:rPr lang="de-AT" dirty="0"/>
              <a:t> BERT </a:t>
            </a:r>
            <a:r>
              <a:rPr lang="de-AT" dirty="0" err="1"/>
              <a:t>has</a:t>
            </a:r>
            <a:r>
              <a:rPr lang="de-AT" dirty="0"/>
              <a:t> </a:t>
            </a:r>
            <a:r>
              <a:rPr lang="de-AT" dirty="0" err="1"/>
              <a:t>yielded</a:t>
            </a:r>
            <a:r>
              <a:rPr lang="de-AT" dirty="0"/>
              <a:t> superior </a:t>
            </a:r>
            <a:r>
              <a:rPr lang="de-AT" dirty="0" err="1"/>
              <a:t>results</a:t>
            </a:r>
            <a:endParaRPr lang="de-A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1FE11C-49C5-5B46-8BF6-62075342E83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NLP Project | Project Proposition | March 2024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083DB0-7E49-6F90-30BB-6DA66DD1CE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057DB4-583E-41A7-BD94-987342018C17}" type="slidenum">
              <a:rPr lang="en-GB" smtClean="0"/>
              <a:pPr/>
              <a:t>8</a:t>
            </a:fld>
            <a:endParaRPr lang="en-GB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1CB0829-1F03-F6A7-F1C7-6D115BF7A469}"/>
              </a:ext>
            </a:extLst>
          </p:cNvPr>
          <p:cNvGrpSpPr/>
          <p:nvPr/>
        </p:nvGrpSpPr>
        <p:grpSpPr>
          <a:xfrm>
            <a:off x="268224" y="1329470"/>
            <a:ext cx="8635381" cy="3286380"/>
            <a:chOff x="429005" y="1734865"/>
            <a:chExt cx="11438469" cy="435315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B9700B3-4985-027B-4CF4-46E952A56EA3}"/>
                </a:ext>
              </a:extLst>
            </p:cNvPr>
            <p:cNvSpPr/>
            <p:nvPr/>
          </p:nvSpPr>
          <p:spPr>
            <a:xfrm>
              <a:off x="4251753" y="1734865"/>
              <a:ext cx="1168130" cy="1168130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9" tIns="45709" rIns="35992" bIns="4570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endParaRPr lang="en-US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06D6E36-0253-5FC3-2712-7F9907FD03EB}"/>
                </a:ext>
              </a:extLst>
            </p:cNvPr>
            <p:cNvSpPr/>
            <p:nvPr/>
          </p:nvSpPr>
          <p:spPr>
            <a:xfrm>
              <a:off x="6791164" y="1734865"/>
              <a:ext cx="1168130" cy="1168130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9" tIns="45709" rIns="35992" bIns="4570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endParaRPr lang="en-US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2689B19-D2FB-BCB5-2053-970C4A4A179C}"/>
                </a:ext>
              </a:extLst>
            </p:cNvPr>
            <p:cNvSpPr/>
            <p:nvPr/>
          </p:nvSpPr>
          <p:spPr>
            <a:xfrm>
              <a:off x="6791164" y="3185917"/>
              <a:ext cx="1168130" cy="116813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72777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9" tIns="45709" rIns="35992" bIns="4570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endParaRPr lang="en-US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8FF551A-09B1-EE38-55E0-5A54ECE3A371}"/>
                </a:ext>
              </a:extLst>
            </p:cNvPr>
            <p:cNvSpPr/>
            <p:nvPr/>
          </p:nvSpPr>
          <p:spPr>
            <a:xfrm>
              <a:off x="4251753" y="3185917"/>
              <a:ext cx="1168130" cy="1168130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9" tIns="45709" rIns="35992" bIns="4570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endParaRPr lang="en-US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11" name="Connector: Elbow 10">
              <a:extLst>
                <a:ext uri="{FF2B5EF4-FFF2-40B4-BE49-F238E27FC236}">
                  <a16:creationId xmlns:a16="http://schemas.microsoft.com/office/drawing/2014/main" id="{44D06E02-BB82-9FDD-EFBE-07481F618F8C}"/>
                </a:ext>
              </a:extLst>
            </p:cNvPr>
            <p:cNvCxnSpPr>
              <a:cxnSpLocks/>
              <a:stCxn id="7" idx="3"/>
              <a:endCxn id="9" idx="1"/>
            </p:cNvCxnSpPr>
            <p:nvPr/>
          </p:nvCxnSpPr>
          <p:spPr>
            <a:xfrm>
              <a:off x="5419883" y="2318930"/>
              <a:ext cx="1371282" cy="1451052"/>
            </a:xfrm>
            <a:prstGeom prst="bentConnector3">
              <a:avLst/>
            </a:prstGeom>
            <a:ln w="19050"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nector: Elbow 11">
              <a:extLst>
                <a:ext uri="{FF2B5EF4-FFF2-40B4-BE49-F238E27FC236}">
                  <a16:creationId xmlns:a16="http://schemas.microsoft.com/office/drawing/2014/main" id="{A003E013-9DCD-EDD8-85C2-228151AA7D26}"/>
                </a:ext>
              </a:extLst>
            </p:cNvPr>
            <p:cNvCxnSpPr>
              <a:cxnSpLocks/>
              <a:stCxn id="8" idx="1"/>
              <a:endCxn id="10" idx="3"/>
            </p:cNvCxnSpPr>
            <p:nvPr/>
          </p:nvCxnSpPr>
          <p:spPr>
            <a:xfrm rot="10800000" flipV="1">
              <a:off x="5419884" y="2318930"/>
              <a:ext cx="1371282" cy="1451052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9182BEA-1093-18CF-100C-0DB8616D5CBA}"/>
                </a:ext>
              </a:extLst>
            </p:cNvPr>
            <p:cNvSpPr txBox="1"/>
            <p:nvPr/>
          </p:nvSpPr>
          <p:spPr>
            <a:xfrm>
              <a:off x="492492" y="2162154"/>
              <a:ext cx="3492623" cy="102376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251950" indent="-251950" defTabSz="912630">
                <a:lnSpc>
                  <a:spcPct val="90000"/>
                </a:lnSpc>
                <a:spcBef>
                  <a:spcPts val="600"/>
                </a:spcBef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</a:pPr>
              <a:r>
                <a:rPr lang="en-US" sz="1000" dirty="0"/>
                <a:t>General description of data origin and dataset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D413998-DE87-447F-E635-3D05A7A37D14}"/>
                </a:ext>
              </a:extLst>
            </p:cNvPr>
            <p:cNvSpPr txBox="1"/>
            <p:nvPr/>
          </p:nvSpPr>
          <p:spPr>
            <a:xfrm>
              <a:off x="492492" y="1740202"/>
              <a:ext cx="3492623" cy="4076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400" b="1" dirty="0"/>
                <a:t>Data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F9B7A61-CCE2-3CC0-590C-8B7ECFABD82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92491" y="2102362"/>
              <a:ext cx="3289472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DB46F91-F034-8FC2-C4D2-8B74B05C5A6E}"/>
                </a:ext>
              </a:extLst>
            </p:cNvPr>
            <p:cNvSpPr txBox="1"/>
            <p:nvPr/>
          </p:nvSpPr>
          <p:spPr>
            <a:xfrm>
              <a:off x="429006" y="3613206"/>
              <a:ext cx="3492623" cy="102376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251950" indent="-251950" defTabSz="912630">
                <a:lnSpc>
                  <a:spcPct val="90000"/>
                </a:lnSpc>
                <a:spcBef>
                  <a:spcPts val="600"/>
                </a:spcBef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</a:pPr>
              <a:r>
                <a:rPr lang="en-US" sz="1000" dirty="0"/>
                <a:t>Description of experiment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F902480-0601-59F9-1BC1-BB8F448EA113}"/>
                </a:ext>
              </a:extLst>
            </p:cNvPr>
            <p:cNvSpPr txBox="1"/>
            <p:nvPr/>
          </p:nvSpPr>
          <p:spPr>
            <a:xfrm>
              <a:off x="957204" y="3185919"/>
              <a:ext cx="2964425" cy="4076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400" b="1" dirty="0">
                  <a:latin typeface="Arial" pitchFamily="34" charset="0"/>
                  <a:cs typeface="Arial" pitchFamily="34" charset="0"/>
                </a:rPr>
                <a:t>Experiments</a:t>
              </a:r>
              <a:endParaRPr lang="en-US" sz="1400" b="1" dirty="0"/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EB3749-1185-55D9-277A-49097EB3835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9005" y="3553414"/>
              <a:ext cx="3289472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EC137EC-6275-814C-3EC2-1298CA22A584}"/>
                </a:ext>
              </a:extLst>
            </p:cNvPr>
            <p:cNvSpPr txBox="1"/>
            <p:nvPr/>
          </p:nvSpPr>
          <p:spPr>
            <a:xfrm>
              <a:off x="8198816" y="1734866"/>
              <a:ext cx="3668658" cy="4076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b="1" dirty="0">
                  <a:latin typeface="Arial" pitchFamily="34" charset="0"/>
                  <a:cs typeface="Arial" pitchFamily="34" charset="0"/>
                </a:rPr>
                <a:t>Pre-processing techniques</a:t>
              </a:r>
              <a:endParaRPr lang="en-US" sz="1400" b="1" dirty="0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DE2D81D-B883-F485-A006-DD864BC20FB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198815" y="2102362"/>
              <a:ext cx="3289472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E53985A-6EC7-9240-FCEE-002E463186A2}"/>
                </a:ext>
              </a:extLst>
            </p:cNvPr>
            <p:cNvSpPr txBox="1"/>
            <p:nvPr/>
          </p:nvSpPr>
          <p:spPr>
            <a:xfrm>
              <a:off x="8135329" y="3613205"/>
              <a:ext cx="3492623" cy="200878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251950" indent="-251950" defTabSz="912630">
                <a:lnSpc>
                  <a:spcPct val="90000"/>
                </a:lnSpc>
                <a:spcBef>
                  <a:spcPts val="600"/>
                </a:spcBef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</a:pPr>
              <a:r>
                <a:rPr lang="en-US" sz="1000" dirty="0"/>
                <a:t>Description of Adjustments &amp; Learning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F50F6BD-9B93-3AF2-8545-F6AB059056AF}"/>
                </a:ext>
              </a:extLst>
            </p:cNvPr>
            <p:cNvSpPr txBox="1"/>
            <p:nvPr/>
          </p:nvSpPr>
          <p:spPr>
            <a:xfrm>
              <a:off x="8135329" y="3185919"/>
              <a:ext cx="3352957" cy="4076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b="1" dirty="0">
                  <a:latin typeface="Arial" pitchFamily="34" charset="0"/>
                  <a:cs typeface="Arial" pitchFamily="34" charset="0"/>
                </a:rPr>
                <a:t>Adjustments/Learnings</a:t>
              </a:r>
              <a:endParaRPr lang="en-US" sz="1400" b="1" dirty="0"/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02EB86E-1EB0-F331-19EA-4A89E4CF3E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135328" y="3553414"/>
              <a:ext cx="3289472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B782F2B-C265-AA2E-7D9D-C2190F9757EB}"/>
                </a:ext>
              </a:extLst>
            </p:cNvPr>
            <p:cNvSpPr txBox="1"/>
            <p:nvPr/>
          </p:nvSpPr>
          <p:spPr>
            <a:xfrm>
              <a:off x="8135329" y="2162154"/>
              <a:ext cx="3492623" cy="102376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251950" indent="-251950" defTabSz="912630">
                <a:lnSpc>
                  <a:spcPct val="90000"/>
                </a:lnSpc>
                <a:spcBef>
                  <a:spcPts val="600"/>
                </a:spcBef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</a:pPr>
              <a:r>
                <a:rPr lang="en-US" sz="1000" dirty="0"/>
                <a:t> Description of pre-processing</a:t>
              </a:r>
            </a:p>
            <a:p>
              <a:pPr marL="251950" indent="-251950" defTabSz="912630">
                <a:lnSpc>
                  <a:spcPct val="90000"/>
                </a:lnSpc>
                <a:spcBef>
                  <a:spcPts val="600"/>
                </a:spcBef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</a:pPr>
              <a:endParaRPr lang="en-US" sz="1000" dirty="0"/>
            </a:p>
          </p:txBody>
        </p:sp>
        <p:pic>
          <p:nvPicPr>
            <p:cNvPr id="26" name="Graphic 25" descr="Network diagram with solid fill">
              <a:extLst>
                <a:ext uri="{FF2B5EF4-FFF2-40B4-BE49-F238E27FC236}">
                  <a16:creationId xmlns:a16="http://schemas.microsoft.com/office/drawing/2014/main" id="{7B8B0102-077E-455B-8C33-8A8579ECD84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81619" y="1878120"/>
              <a:ext cx="914188" cy="914188"/>
            </a:xfrm>
            <a:prstGeom prst="rect">
              <a:avLst/>
            </a:prstGeom>
          </p:spPr>
        </p:pic>
        <p:pic>
          <p:nvPicPr>
            <p:cNvPr id="27" name="Graphic 26" descr="Clipboard Checked with solid fill">
              <a:extLst>
                <a:ext uri="{FF2B5EF4-FFF2-40B4-BE49-F238E27FC236}">
                  <a16:creationId xmlns:a16="http://schemas.microsoft.com/office/drawing/2014/main" id="{FA9521D3-84C4-0FEB-6D60-8237C4F1AD4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918135" y="3312888"/>
              <a:ext cx="914188" cy="914188"/>
            </a:xfrm>
            <a:prstGeom prst="rect">
              <a:avLst/>
            </a:prstGeom>
          </p:spPr>
        </p:pic>
        <p:cxnSp>
          <p:nvCxnSpPr>
            <p:cNvPr id="29" name="Connector: Elbow 28">
              <a:extLst>
                <a:ext uri="{FF2B5EF4-FFF2-40B4-BE49-F238E27FC236}">
                  <a16:creationId xmlns:a16="http://schemas.microsoft.com/office/drawing/2014/main" id="{2284330B-73E5-6F08-7BBD-6DF2BF269644}"/>
                </a:ext>
              </a:extLst>
            </p:cNvPr>
            <p:cNvCxnSpPr>
              <a:cxnSpLocks/>
              <a:stCxn id="8" idx="1"/>
              <a:endCxn id="34" idx="0"/>
            </p:cNvCxnSpPr>
            <p:nvPr/>
          </p:nvCxnSpPr>
          <p:spPr>
            <a:xfrm rot="10800000" flipV="1">
              <a:off x="6105523" y="2318930"/>
              <a:ext cx="685641" cy="2318039"/>
            </a:xfrm>
            <a:prstGeom prst="bentConnector2">
              <a:avLst/>
            </a:prstGeom>
            <a:ln w="19050"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DEFEAA9-0215-38E6-7A22-C9E3B0AB0765}"/>
                </a:ext>
              </a:extLst>
            </p:cNvPr>
            <p:cNvSpPr txBox="1"/>
            <p:nvPr/>
          </p:nvSpPr>
          <p:spPr>
            <a:xfrm>
              <a:off x="1965350" y="5064258"/>
              <a:ext cx="3492623" cy="102376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251950" indent="-251950" defTabSz="912630">
                <a:lnSpc>
                  <a:spcPct val="90000"/>
                </a:lnSpc>
                <a:spcBef>
                  <a:spcPts val="600"/>
                </a:spcBef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</a:pPr>
              <a:r>
                <a:rPr lang="en-US" sz="1000" dirty="0"/>
                <a:t>General Description of result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23DC480D-0C78-43B5-6279-8D33216E44EE}"/>
                </a:ext>
              </a:extLst>
            </p:cNvPr>
            <p:cNvSpPr txBox="1"/>
            <p:nvPr/>
          </p:nvSpPr>
          <p:spPr>
            <a:xfrm>
              <a:off x="2493548" y="4636970"/>
              <a:ext cx="2964425" cy="4076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400" b="1" dirty="0">
                  <a:latin typeface="Arial" pitchFamily="34" charset="0"/>
                  <a:cs typeface="Arial" pitchFamily="34" charset="0"/>
                </a:rPr>
                <a:t>Results</a:t>
              </a:r>
              <a:endParaRPr lang="en-US" sz="1400" b="1" dirty="0"/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42775BEA-C81D-EBBD-0246-0E9CC9A0029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965349" y="5004466"/>
              <a:ext cx="3289472" cy="0"/>
            </a:xfrm>
            <a:prstGeom prst="line">
              <a:avLst/>
            </a:prstGeom>
            <a:ln w="190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C4CA7FD0-9B06-0355-9F36-4317670A96E4}"/>
                </a:ext>
              </a:extLst>
            </p:cNvPr>
            <p:cNvGrpSpPr/>
            <p:nvPr/>
          </p:nvGrpSpPr>
          <p:grpSpPr>
            <a:xfrm>
              <a:off x="5521458" y="4636969"/>
              <a:ext cx="1168130" cy="1168130"/>
              <a:chOff x="4241802" y="4638043"/>
              <a:chExt cx="1168400" cy="1168400"/>
            </a:xfrm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6E6F39A-1441-663C-757A-925FE0044242}"/>
                  </a:ext>
                </a:extLst>
              </p:cNvPr>
              <p:cNvSpPr/>
              <p:nvPr/>
            </p:nvSpPr>
            <p:spPr>
              <a:xfrm>
                <a:off x="4241802" y="4638043"/>
                <a:ext cx="1168400" cy="1168400"/>
              </a:xfrm>
              <a:prstGeom prst="rect">
                <a:avLst/>
              </a:prstGeom>
              <a:solidFill>
                <a:schemeClr val="accent5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9" tIns="45709" rIns="35992" bIns="4570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endParaRPr lang="en-US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35" name="Graphic 34" descr="Clipboard Badge with solid fill">
                <a:extLst>
                  <a:ext uri="{FF2B5EF4-FFF2-40B4-BE49-F238E27FC236}">
                    <a16:creationId xmlns:a16="http://schemas.microsoft.com/office/drawing/2014/main" id="{1601D188-7F2C-319D-25FC-DB18A27603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368802" y="4765043"/>
                <a:ext cx="914400" cy="914400"/>
              </a:xfrm>
              <a:prstGeom prst="rect">
                <a:avLst/>
              </a:prstGeom>
            </p:spPr>
          </p:pic>
        </p:grpSp>
      </p:grpSp>
      <p:pic>
        <p:nvPicPr>
          <p:cNvPr id="43" name="Graphic 42" descr="Flask with solid fill">
            <a:extLst>
              <a:ext uri="{FF2B5EF4-FFF2-40B4-BE49-F238E27FC236}">
                <a16:creationId xmlns:a16="http://schemas.microsoft.com/office/drawing/2014/main" id="{79988591-B208-6347-E2C5-4F2CF52C469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48739" y="2502931"/>
            <a:ext cx="692746" cy="692746"/>
          </a:xfrm>
          <a:prstGeom prst="rect">
            <a:avLst/>
          </a:prstGeom>
        </p:spPr>
      </p:pic>
      <p:pic>
        <p:nvPicPr>
          <p:cNvPr id="45" name="Graphic 44" descr="Server with solid fill">
            <a:extLst>
              <a:ext uri="{FF2B5EF4-FFF2-40B4-BE49-F238E27FC236}">
                <a16:creationId xmlns:a16="http://schemas.microsoft.com/office/drawing/2014/main" id="{B3D7A486-B536-F541-0DFE-A0D378E3B87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256893" y="1436594"/>
            <a:ext cx="676438" cy="676438"/>
          </a:xfrm>
          <a:prstGeom prst="rect">
            <a:avLst/>
          </a:prstGeom>
        </p:spPr>
      </p:pic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AE0BC394-F534-D319-51C7-D48C60CD55B0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>
          <a:xfrm rot="5400000">
            <a:off x="4446871" y="1359581"/>
            <a:ext cx="213590" cy="1917108"/>
          </a:xfrm>
          <a:prstGeom prst="bentConnector3">
            <a:avLst>
              <a:gd name="adj1" fmla="val 50000"/>
            </a:avLst>
          </a:prstGeom>
          <a:ln w="19050">
            <a:solidFill>
              <a:srgbClr val="AAADA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250FEF28-4B72-CC25-7C51-9A69F9686AAB}"/>
              </a:ext>
            </a:extLst>
          </p:cNvPr>
          <p:cNvCxnSpPr>
            <a:cxnSpLocks/>
            <a:stCxn id="9" idx="2"/>
            <a:endCxn id="34" idx="0"/>
          </p:cNvCxnSpPr>
          <p:nvPr/>
        </p:nvCxnSpPr>
        <p:spPr>
          <a:xfrm rot="5400000">
            <a:off x="4926149" y="2934317"/>
            <a:ext cx="213589" cy="958554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E88612A3-4D86-CD83-7BDA-45F7712DE38A}"/>
              </a:ext>
            </a:extLst>
          </p:cNvPr>
          <p:cNvCxnSpPr>
            <a:stCxn id="10" idx="3"/>
            <a:endCxn id="9" idx="1"/>
          </p:cNvCxnSpPr>
          <p:nvPr/>
        </p:nvCxnSpPr>
        <p:spPr>
          <a:xfrm>
            <a:off x="4036047" y="2865865"/>
            <a:ext cx="1035238" cy="0"/>
          </a:xfrm>
          <a:prstGeom prst="straightConnector1">
            <a:avLst/>
          </a:prstGeom>
          <a:ln w="19050">
            <a:solidFill>
              <a:srgbClr val="B9D17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301B508E-44B5-ADFC-10EE-78F0BE1424CF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4036047" y="1770405"/>
            <a:ext cx="1035238" cy="0"/>
          </a:xfrm>
          <a:prstGeom prst="straightConnector1">
            <a:avLst/>
          </a:prstGeom>
          <a:ln w="19050">
            <a:solidFill>
              <a:srgbClr val="8BB31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84475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61AF305-6200-5D52-69FC-63F901982C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952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1AF305-6200-5D52-69FC-63F901982C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4F0073D-35A7-A294-6126-770493245A02}"/>
              </a:ext>
            </a:extLst>
          </p:cNvPr>
          <p:cNvCxnSpPr>
            <a:cxnSpLocks/>
          </p:cNvCxnSpPr>
          <p:nvPr/>
        </p:nvCxnSpPr>
        <p:spPr>
          <a:xfrm>
            <a:off x="5951319" y="1604804"/>
            <a:ext cx="3171672" cy="1"/>
          </a:xfrm>
          <a:prstGeom prst="line">
            <a:avLst/>
          </a:prstGeom>
          <a:ln w="1905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E7409E0-862B-34B0-0FF6-B483C7E26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e-AT" dirty="0" err="1"/>
              <a:t>Conclusions</a:t>
            </a:r>
            <a:r>
              <a:rPr lang="de-AT" dirty="0"/>
              <a:t> &amp; Future Wor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1AED4E-EE89-5234-A7BD-C1858D4933B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NLP Project | Project Proposition | March 2024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333CD7-C1CF-0E96-5FD2-687B391F733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057DB4-583E-41A7-BD94-987342018C17}" type="slidenum">
              <a:rPr lang="en-GB" smtClean="0"/>
              <a:pPr/>
              <a:t>9</a:t>
            </a:fld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015CC18-BAB5-23DD-8BA8-C2D56C20976C}"/>
              </a:ext>
            </a:extLst>
          </p:cNvPr>
          <p:cNvCxnSpPr>
            <a:cxnSpLocks/>
            <a:endCxn id="9" idx="6"/>
          </p:cNvCxnSpPr>
          <p:nvPr/>
        </p:nvCxnSpPr>
        <p:spPr>
          <a:xfrm>
            <a:off x="0" y="1604804"/>
            <a:ext cx="3171672" cy="1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9604B6A8-0EDC-2861-0B97-E9620930A305}"/>
              </a:ext>
            </a:extLst>
          </p:cNvPr>
          <p:cNvSpPr/>
          <p:nvPr/>
        </p:nvSpPr>
        <p:spPr>
          <a:xfrm>
            <a:off x="1742923" y="890430"/>
            <a:ext cx="1428749" cy="142874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US" sz="18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EA4F8BA9-4A74-B324-7D12-4189B56D7B0E}"/>
              </a:ext>
            </a:extLst>
          </p:cNvPr>
          <p:cNvSpPr/>
          <p:nvPr/>
        </p:nvSpPr>
        <p:spPr>
          <a:xfrm>
            <a:off x="5908034" y="890430"/>
            <a:ext cx="1428749" cy="142874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US" sz="18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3F54D97-8BF1-C88F-52A4-80B63FD40A10}"/>
              </a:ext>
            </a:extLst>
          </p:cNvPr>
          <p:cNvSpPr/>
          <p:nvPr/>
        </p:nvSpPr>
        <p:spPr>
          <a:xfrm>
            <a:off x="1807217" y="954723"/>
            <a:ext cx="1300163" cy="1300163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US" sz="18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2D24D3C-392B-D581-EBB4-2965BCC38DC5}"/>
              </a:ext>
            </a:extLst>
          </p:cNvPr>
          <p:cNvSpPr/>
          <p:nvPr/>
        </p:nvSpPr>
        <p:spPr>
          <a:xfrm>
            <a:off x="6001253" y="954723"/>
            <a:ext cx="1300163" cy="1300163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US" sz="18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577358-B334-495D-F23A-098232050794}"/>
              </a:ext>
            </a:extLst>
          </p:cNvPr>
          <p:cNvSpPr txBox="1"/>
          <p:nvPr/>
        </p:nvSpPr>
        <p:spPr>
          <a:xfrm>
            <a:off x="446176" y="2703962"/>
            <a:ext cx="3595472" cy="7680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Lorem ipsum dolor sit </a:t>
            </a:r>
            <a:r>
              <a:rPr lang="en-US" sz="1100" dirty="0" err="1">
                <a:latin typeface="Arial" pitchFamily="34" charset="0"/>
                <a:cs typeface="Arial" pitchFamily="34" charset="0"/>
              </a:rPr>
              <a:t>amet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, </a:t>
            </a:r>
            <a:r>
              <a:rPr lang="en-US" sz="1100" dirty="0" err="1">
                <a:latin typeface="Arial" pitchFamily="34" charset="0"/>
                <a:cs typeface="Arial" pitchFamily="34" charset="0"/>
              </a:rPr>
              <a:t>consectetur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>
                <a:latin typeface="Arial" pitchFamily="34" charset="0"/>
                <a:cs typeface="Arial" pitchFamily="34" charset="0"/>
              </a:rPr>
              <a:t>adipiscing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>
                <a:latin typeface="Arial" pitchFamily="34" charset="0"/>
                <a:cs typeface="Arial" pitchFamily="34" charset="0"/>
              </a:rPr>
              <a:t>elit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, sed do </a:t>
            </a:r>
            <a:r>
              <a:rPr lang="en-US" sz="1100" dirty="0" err="1">
                <a:latin typeface="Arial" pitchFamily="34" charset="0"/>
                <a:cs typeface="Arial" pitchFamily="34" charset="0"/>
              </a:rPr>
              <a:t>eiusmod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D5484D0-BD43-8B1D-401A-F0555187A053}"/>
              </a:ext>
            </a:extLst>
          </p:cNvPr>
          <p:cNvSpPr txBox="1"/>
          <p:nvPr/>
        </p:nvSpPr>
        <p:spPr>
          <a:xfrm>
            <a:off x="358624" y="2383422"/>
            <a:ext cx="198666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Our Conclusions</a:t>
            </a:r>
            <a:endParaRPr lang="en-US" sz="1400" b="1" dirty="0">
              <a:solidFill>
                <a:schemeClr val="accent5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07D7EC6-A314-9CAB-054E-C6816616AC8D}"/>
              </a:ext>
            </a:extLst>
          </p:cNvPr>
          <p:cNvCxnSpPr>
            <a:cxnSpLocks/>
          </p:cNvCxnSpPr>
          <p:nvPr/>
        </p:nvCxnSpPr>
        <p:spPr>
          <a:xfrm flipH="1">
            <a:off x="298704" y="2659109"/>
            <a:ext cx="3797808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57F2D805-8798-3743-0114-B91C6871E051}"/>
              </a:ext>
            </a:extLst>
          </p:cNvPr>
          <p:cNvSpPr txBox="1"/>
          <p:nvPr/>
        </p:nvSpPr>
        <p:spPr>
          <a:xfrm>
            <a:off x="5077968" y="2703962"/>
            <a:ext cx="3736848" cy="7680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Lorem ipsum dolor sit </a:t>
            </a:r>
            <a:r>
              <a:rPr lang="en-US" sz="1100" dirty="0" err="1">
                <a:latin typeface="Arial" pitchFamily="34" charset="0"/>
                <a:cs typeface="Arial" pitchFamily="34" charset="0"/>
              </a:rPr>
              <a:t>amet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, </a:t>
            </a:r>
            <a:r>
              <a:rPr lang="en-US" sz="1100" dirty="0" err="1">
                <a:latin typeface="Arial" pitchFamily="34" charset="0"/>
                <a:cs typeface="Arial" pitchFamily="34" charset="0"/>
              </a:rPr>
              <a:t>consectetur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>
                <a:latin typeface="Arial" pitchFamily="34" charset="0"/>
                <a:cs typeface="Arial" pitchFamily="34" charset="0"/>
              </a:rPr>
              <a:t>adipiscing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>
                <a:latin typeface="Arial" pitchFamily="34" charset="0"/>
                <a:cs typeface="Arial" pitchFamily="34" charset="0"/>
              </a:rPr>
              <a:t>elit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, sed do </a:t>
            </a:r>
            <a:r>
              <a:rPr lang="en-US" sz="1100" dirty="0" err="1">
                <a:latin typeface="Arial" pitchFamily="34" charset="0"/>
                <a:cs typeface="Arial" pitchFamily="34" charset="0"/>
              </a:rPr>
              <a:t>eiusmod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CBB2D05-495C-A590-7561-586EB8B439B7}"/>
              </a:ext>
            </a:extLst>
          </p:cNvPr>
          <p:cNvSpPr txBox="1"/>
          <p:nvPr/>
        </p:nvSpPr>
        <p:spPr>
          <a:xfrm>
            <a:off x="5077968" y="2383422"/>
            <a:ext cx="198666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Future Work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525EFB5-50B9-B3AF-5FB6-DF2C2C796113}"/>
              </a:ext>
            </a:extLst>
          </p:cNvPr>
          <p:cNvCxnSpPr>
            <a:cxnSpLocks/>
          </p:cNvCxnSpPr>
          <p:nvPr/>
        </p:nvCxnSpPr>
        <p:spPr>
          <a:xfrm flipH="1">
            <a:off x="5077968" y="2659109"/>
            <a:ext cx="3797808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Graphic 34" descr="Artificial Intelligence with solid fill">
            <a:extLst>
              <a:ext uri="{FF2B5EF4-FFF2-40B4-BE49-F238E27FC236}">
                <a16:creationId xmlns:a16="http://schemas.microsoft.com/office/drawing/2014/main" id="{83C78A4B-90C7-651A-0CAE-3B96CA32E2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78136" y="1082495"/>
            <a:ext cx="1031924" cy="1031924"/>
          </a:xfrm>
          <a:prstGeom prst="rect">
            <a:avLst/>
          </a:prstGeom>
        </p:spPr>
      </p:pic>
      <p:pic>
        <p:nvPicPr>
          <p:cNvPr id="37" name="Graphic 36" descr="Scribble with solid fill">
            <a:extLst>
              <a:ext uri="{FF2B5EF4-FFF2-40B4-BE49-F238E27FC236}">
                <a16:creationId xmlns:a16="http://schemas.microsoft.com/office/drawing/2014/main" id="{6E8DE203-75AE-468F-5135-7C89A7DD38D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975637" y="120001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803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Custom 2">
      <a:dk1>
        <a:sysClr val="windowText" lastClr="000000"/>
      </a:dk1>
      <a:lt1>
        <a:sysClr val="window" lastClr="FFFFFF"/>
      </a:lt1>
      <a:dk2>
        <a:srgbClr val="72777A"/>
      </a:dk2>
      <a:lt2>
        <a:srgbClr val="FFFFFF"/>
      </a:lt2>
      <a:accent1>
        <a:srgbClr val="72777A"/>
      </a:accent1>
      <a:accent2>
        <a:srgbClr val="AAADAF"/>
      </a:accent2>
      <a:accent3>
        <a:srgbClr val="8BB31D"/>
      </a:accent3>
      <a:accent4>
        <a:srgbClr val="B9D177"/>
      </a:accent4>
      <a:accent5>
        <a:srgbClr val="00649C"/>
      </a:accent5>
      <a:accent6>
        <a:srgbClr val="66A2C4"/>
      </a:accent6>
      <a:hlink>
        <a:srgbClr val="00649C"/>
      </a:hlink>
      <a:folHlink>
        <a:srgbClr val="323F4F"/>
      </a:folHlink>
    </a:clrScheme>
    <a:fontScheme name="Benutzerdefiniert 1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t">
        <a:normAutofit/>
      </a:bodyPr>
      <a:lstStyle>
        <a:defPPr algn="l">
          <a:defRPr sz="28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15EC8A32-EFA0-4B0B-AC0F-1D8CF766F1E4}" vid="{CE16643F-63A4-48FC-8B61-AF37F67178D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b6d50f11-2948-4504-b85a-3bd8bed9a0fc}" enabled="1" method="Standard" siteId="{a8f2ac6f-681f-4361-b51f-c85d86014a1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FH_Vorlage</Template>
  <TotalTime>0</TotalTime>
  <Words>463</Words>
  <Application>Microsoft Office PowerPoint</Application>
  <PresentationFormat>On-screen Show (16:9)</PresentationFormat>
  <Paragraphs>100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Symbol</vt:lpstr>
      <vt:lpstr>Office</vt:lpstr>
      <vt:lpstr>think-cell Slide</vt:lpstr>
      <vt:lpstr>NLP Project Final Presentation</vt:lpstr>
      <vt:lpstr>Agenda</vt:lpstr>
      <vt:lpstr>Project Introduction</vt:lpstr>
      <vt:lpstr>Current State of the Art &amp; Related Work</vt:lpstr>
      <vt:lpstr>Methodology</vt:lpstr>
      <vt:lpstr>Project Approach</vt:lpstr>
      <vt:lpstr>Knowledge Gap, Research Question, Experimenten Outline</vt:lpstr>
      <vt:lpstr>In conclusion BERT has yielded superior results</vt:lpstr>
      <vt:lpstr>Conclusions &amp; Future Wor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merkungen zur Vorlage</dc:title>
  <dc:creator>Elias Marcon</dc:creator>
  <cp:lastModifiedBy>Bittner, Bodowin Silvester</cp:lastModifiedBy>
  <cp:revision>4</cp:revision>
  <dcterms:created xsi:type="dcterms:W3CDTF">2024-03-17T11:23:53Z</dcterms:created>
  <dcterms:modified xsi:type="dcterms:W3CDTF">2024-04-12T09:2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:7</vt:lpwstr>
  </property>
  <property fmtid="{D5CDD505-2E9C-101B-9397-08002B2CF9AE}" pid="3" name="ClassificationContentMarkingFooterText">
    <vt:lpwstr>Internal</vt:lpwstr>
  </property>
</Properties>
</file>